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4"/>
  </p:notesMasterIdLst>
  <p:sldIdLst>
    <p:sldId id="256" r:id="rId5"/>
    <p:sldId id="230717733" r:id="rId6"/>
    <p:sldId id="230717734" r:id="rId7"/>
    <p:sldId id="261" r:id="rId8"/>
    <p:sldId id="306" r:id="rId9"/>
    <p:sldId id="269" r:id="rId10"/>
    <p:sldId id="272" r:id="rId11"/>
    <p:sldId id="273" r:id="rId12"/>
    <p:sldId id="274" r:id="rId13"/>
    <p:sldId id="275" r:id="rId14"/>
    <p:sldId id="266" r:id="rId15"/>
    <p:sldId id="309" r:id="rId16"/>
    <p:sldId id="278" r:id="rId17"/>
    <p:sldId id="279" r:id="rId18"/>
    <p:sldId id="264" r:id="rId19"/>
    <p:sldId id="304" r:id="rId20"/>
    <p:sldId id="280" r:id="rId21"/>
    <p:sldId id="293" r:id="rId22"/>
    <p:sldId id="303" r:id="rId23"/>
    <p:sldId id="305" r:id="rId24"/>
    <p:sldId id="284" r:id="rId25"/>
    <p:sldId id="285" r:id="rId26"/>
    <p:sldId id="287" r:id="rId27"/>
    <p:sldId id="307" r:id="rId28"/>
    <p:sldId id="308" r:id="rId29"/>
    <p:sldId id="288" r:id="rId30"/>
    <p:sldId id="286" r:id="rId31"/>
    <p:sldId id="290" r:id="rId32"/>
    <p:sldId id="310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6FFE83-CEA1-AD2D-DA04-2327BE67894E}" name="Vuorenmaa Mikko" initials="VM" userId="S::mikko.vuorenmaa@energia.fi::6a1bce60-70f0-4286-abb4-71a3853c60fc" providerId="AD"/>
  <p188:author id="{B747C4EA-1D5F-C4CE-90AF-9E6E8684EFE4}" name="Huttunen Neea" initials="HN" userId="S::neea.huttunen@energia.fi::2244a6da-0b88-4971-ba1f-380dc951390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954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5986F4-4B4A-414D-B0A3-971C452E03C0}" type="datetimeFigureOut">
              <a:rPr lang="fi-FI" smtClean="0"/>
              <a:t>9.11.2023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FA0A38-E614-4BA1-A813-38F8731195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914825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fi-FI" smtClean="0"/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484508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D6097-F58A-4259-AB86-8695682BDB19}" type="slidenum">
              <a:rPr lang="fi-FI" smtClean="0"/>
              <a:t>2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4008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"/>
          <a:stretch/>
        </p:blipFill>
        <p:spPr>
          <a:xfrm>
            <a:off x="156883" y="143123"/>
            <a:ext cx="11899392" cy="58237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6" name="Picture 15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92867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8.11.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110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081" y="365125"/>
            <a:ext cx="10980225" cy="1325563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5576" y="1825625"/>
            <a:ext cx="5278718" cy="4351338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2647" y="1825625"/>
            <a:ext cx="5283204" cy="4351338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8.11.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4726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8.11.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3894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8.11.202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257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56884" y="141288"/>
            <a:ext cx="11887480" cy="6551612"/>
          </a:xfrm>
          <a:solidFill>
            <a:schemeClr val="bg2"/>
          </a:solidFill>
        </p:spPr>
        <p:txBody>
          <a:bodyPr/>
          <a:lstStyle/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274047"/>
            <a:ext cx="9144000" cy="1829081"/>
          </a:xfrm>
        </p:spPr>
        <p:txBody>
          <a:bodyPr anchor="ctr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636" y="5951123"/>
            <a:ext cx="2137832" cy="47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7868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237288" y="141288"/>
            <a:ext cx="5807075" cy="6551612"/>
          </a:xfrm>
          <a:solidFill>
            <a:schemeClr val="bg2"/>
          </a:solidFill>
        </p:spPr>
        <p:txBody>
          <a:bodyPr/>
          <a:lstStyle/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081" y="365125"/>
            <a:ext cx="5392271" cy="1325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5575" y="1825625"/>
            <a:ext cx="5390777" cy="4351338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9.11.2023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8.11.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6288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48759" y="141288"/>
            <a:ext cx="5807075" cy="6551612"/>
          </a:xfrm>
          <a:solidFill>
            <a:schemeClr val="bg2"/>
          </a:solidFill>
        </p:spPr>
        <p:txBody>
          <a:bodyPr/>
          <a:lstStyle/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8638" y="365125"/>
            <a:ext cx="5392271" cy="1325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90132" y="1825625"/>
            <a:ext cx="5390777" cy="4351338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i-FI"/>
              <a:t>9.11.2023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8.11.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207" y="6405771"/>
            <a:ext cx="1490123" cy="182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8312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pictur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48759" y="141287"/>
            <a:ext cx="11895604" cy="3169179"/>
          </a:xfrm>
          <a:solidFill>
            <a:schemeClr val="bg2"/>
          </a:solidFill>
        </p:spPr>
        <p:txBody>
          <a:bodyPr/>
          <a:lstStyle/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081" y="3413620"/>
            <a:ext cx="9478683" cy="83016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4081" y="4258730"/>
            <a:ext cx="9478683" cy="2038975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8.11.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1988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"/>
          <a:stretch/>
        </p:blipFill>
        <p:spPr>
          <a:xfrm>
            <a:off x="156883" y="143123"/>
            <a:ext cx="11899392" cy="582376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6" name="Picture 15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532074" y="2407444"/>
            <a:ext cx="9137945" cy="8786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4800">
                <a:solidFill>
                  <a:schemeClr val="bg1"/>
                </a:solidFill>
              </a:rPr>
              <a:t>Suomi on </a:t>
            </a:r>
            <a:r>
              <a:rPr lang="en-US" sz="4800" err="1">
                <a:solidFill>
                  <a:schemeClr val="bg1"/>
                </a:solidFill>
              </a:rPr>
              <a:t>energia-alan</a:t>
            </a:r>
            <a:r>
              <a:rPr lang="en-US" sz="4800">
                <a:solidFill>
                  <a:schemeClr val="bg1"/>
                </a:solidFill>
              </a:rPr>
              <a:t> </a:t>
            </a:r>
            <a:r>
              <a:rPr lang="en-US" sz="4800" err="1">
                <a:solidFill>
                  <a:schemeClr val="bg1"/>
                </a:solidFill>
              </a:rPr>
              <a:t>edelläkävijä</a:t>
            </a:r>
            <a:endParaRPr lang="en-US" sz="48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FBA1413-D840-4048-B977-C0B3B3389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44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FBA1413-D840-4048-B977-C0B3B3389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47A0ED3-EBDF-4A88-A4D3-BD4EA652B4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958740"/>
            <a:ext cx="10658475" cy="584775"/>
          </a:xfrm>
        </p:spPr>
        <p:txBody>
          <a:bodyPr>
            <a:spAutoFit/>
          </a:bodyPr>
          <a:lstStyle/>
          <a:p>
            <a:r>
              <a:rPr lang="en-GB" noProof="0"/>
              <a:t>Click here to add a headline </a:t>
            </a:r>
            <a:br>
              <a:rPr lang="en-GB" noProof="0"/>
            </a:br>
            <a:r>
              <a:rPr lang="en-GB" noProof="0"/>
              <a:t>of maximum two lines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82F03808-5700-F64A-B0B7-5EC2FE9B66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3" y="1808163"/>
            <a:ext cx="1065847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here to add text or click on icon to 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CCE1D5B0-D380-4A55-BFCF-AF4809BCA3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i-FI"/>
              <a:t>9.11.2023</a:t>
            </a: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47F536C0-7643-40EB-AA89-B95D5A27C59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8.11.2022</a:t>
            </a:r>
            <a:endParaRPr lang="en-GB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A67F99E9-0F02-4D45-BC0C-D2B04AECD9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‹#›</a:t>
            </a:fld>
            <a:endParaRPr lang="en-GB" noProof="0"/>
          </a:p>
        </p:txBody>
      </p:sp>
      <p:sp>
        <p:nvSpPr>
          <p:cNvPr id="21" name="Source / Footnote Placeholder">
            <a:extLst>
              <a:ext uri="{FF2B5EF4-FFF2-40B4-BE49-F238E27FC236}">
                <a16:creationId xmlns:a16="http://schemas.microsoft.com/office/drawing/2014/main" id="{AA37DF42-5A4E-4D6A-9AE9-5A61F1B876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3" y="6278992"/>
            <a:ext cx="8852438" cy="10233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>
                <a:solidFill>
                  <a:schemeClr val="tx2"/>
                </a:solidFill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Placeholder for sources and footnotes: footnotes are numbered (no *)  |  Single-line </a:t>
            </a:r>
          </a:p>
        </p:txBody>
      </p:sp>
    </p:spTree>
    <p:extLst>
      <p:ext uri="{BB962C8B-B14F-4D97-AF65-F5344CB8AC3E}">
        <p14:creationId xmlns:p14="http://schemas.microsoft.com/office/powerpoint/2010/main" val="622255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9">
          <p15:clr>
            <a:srgbClr val="F26B43"/>
          </p15:clr>
        </p15:guide>
        <p15:guide id="2" pos="483">
          <p15:clr>
            <a:srgbClr val="F26B43"/>
          </p15:clr>
        </p15:guide>
        <p15:guide id="3" pos="7197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1139">
          <p15:clr>
            <a:srgbClr val="F26B43"/>
          </p15:clr>
        </p15:guide>
        <p15:guide id="6" orient="horz" pos="2546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swoosh_1.png"/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"/>
          <a:stretch/>
        </p:blipFill>
        <p:spPr>
          <a:xfrm>
            <a:off x="156883" y="143123"/>
            <a:ext cx="11899392" cy="58237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5" name="Picture 14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08504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"/>
          <a:stretch/>
        </p:blipFill>
        <p:spPr>
          <a:xfrm>
            <a:off x="156883" y="143123"/>
            <a:ext cx="11899392" cy="58237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3" name="Picture 12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25600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" b="2"/>
          <a:stretch/>
        </p:blipFill>
        <p:spPr>
          <a:xfrm>
            <a:off x="156883" y="143123"/>
            <a:ext cx="11899392" cy="58237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cxnSp>
        <p:nvCxnSpPr>
          <p:cNvPr id="25" name="Straight Connector 24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8658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602" y="142240"/>
            <a:ext cx="11890248" cy="58186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6" name="Picture 15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19" name="Straight Connector 18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57730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602" y="142240"/>
            <a:ext cx="11890248" cy="58186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5" name="Picture 14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19" name="Straight Connector 18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602" y="142240"/>
            <a:ext cx="11890248" cy="58186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3" name="Picture 12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81202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602" y="142240"/>
            <a:ext cx="11890248" cy="58186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0" name="Picture 9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11199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56884" y="141288"/>
            <a:ext cx="11887480" cy="5830142"/>
          </a:xfrm>
          <a:solidFill>
            <a:schemeClr val="bg2"/>
          </a:solidFill>
        </p:spPr>
        <p:txBody>
          <a:bodyPr/>
          <a:lstStyle/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0" name="Picture 9" descr="ET_log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4081" y="365125"/>
            <a:ext cx="947868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081" y="1825625"/>
            <a:ext cx="9478683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588815" y="6356350"/>
            <a:ext cx="1014507" cy="246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i-FI"/>
              <a:t>9.11.202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5824" y="6356350"/>
            <a:ext cx="3812992" cy="246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8.11.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19589" y="6356350"/>
            <a:ext cx="545354" cy="246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1">
                <a:solidFill>
                  <a:srgbClr val="595959"/>
                </a:solidFill>
              </a:defRPr>
            </a:lvl1pPr>
          </a:lstStyle>
          <a:p>
            <a:fld id="{D5CDC59A-8C4B-3741-8921-09D2C8EE8B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 descr="ET_vesileima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202" y="6405771"/>
            <a:ext cx="1490134" cy="182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8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49" r:id="rId2"/>
    <p:sldLayoutId id="2147483663" r:id="rId3"/>
    <p:sldLayoutId id="2147483664" r:id="rId4"/>
    <p:sldLayoutId id="2147483666" r:id="rId5"/>
    <p:sldLayoutId id="2147483669" r:id="rId6"/>
    <p:sldLayoutId id="2147483667" r:id="rId7"/>
    <p:sldLayoutId id="2147483668" r:id="rId8"/>
    <p:sldLayoutId id="2147483670" r:id="rId9"/>
    <p:sldLayoutId id="2147483650" r:id="rId10"/>
    <p:sldLayoutId id="2147483652" r:id="rId11"/>
    <p:sldLayoutId id="2147483654" r:id="rId12"/>
    <p:sldLayoutId id="2147483655" r:id="rId13"/>
    <p:sldLayoutId id="2147483658" r:id="rId14"/>
    <p:sldLayoutId id="2147483659" r:id="rId15"/>
    <p:sldLayoutId id="2147483660" r:id="rId16"/>
    <p:sldLayoutId id="2147483661" r:id="rId17"/>
    <p:sldLayoutId id="2147483671" r:id="rId18"/>
    <p:sldLayoutId id="2147483672" r:id="rId19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3">
            <a:lumMod val="75000"/>
          </a:schemeClr>
        </a:buClr>
        <a:buFont typeface="Arial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>
            <a:lumMod val="50000"/>
          </a:schemeClr>
        </a:buClr>
        <a:buFont typeface="Lucida Grande"/>
        <a:buChar char="–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1.svg"/><Relationship Id="rId4" Type="http://schemas.openxmlformats.org/officeDocument/2006/relationships/image" Target="../media/image5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sv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5.svg"/><Relationship Id="rId4" Type="http://schemas.openxmlformats.org/officeDocument/2006/relationships/image" Target="../media/image5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22.png"/><Relationship Id="rId18" Type="http://schemas.openxmlformats.org/officeDocument/2006/relationships/image" Target="../media/image27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17" Type="http://schemas.openxmlformats.org/officeDocument/2006/relationships/image" Target="../media/image26.pn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25.svg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emf"/><Relationship Id="rId15" Type="http://schemas.openxmlformats.org/officeDocument/2006/relationships/image" Target="../media/image24.png"/><Relationship Id="rId10" Type="http://schemas.openxmlformats.org/officeDocument/2006/relationships/image" Target="../media/image19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8.png"/><Relationship Id="rId14" Type="http://schemas.openxmlformats.org/officeDocument/2006/relationships/image" Target="../media/image2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sv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sv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sv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sv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sv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sv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9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8710FFB-ACCD-4797-AAB6-ED49953B301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/>
              <a:t>Kaukolämpö 2022</a:t>
            </a:r>
          </a:p>
        </p:txBody>
      </p:sp>
    </p:spTree>
    <p:extLst>
      <p:ext uri="{BB962C8B-B14F-4D97-AF65-F5344CB8AC3E}">
        <p14:creationId xmlns:p14="http://schemas.microsoft.com/office/powerpoint/2010/main" val="20126342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9576F36-56F4-4671-B810-257EDE017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6396319" cy="1325563"/>
          </a:xfrm>
        </p:spPr>
        <p:txBody>
          <a:bodyPr>
            <a:normAutofit/>
          </a:bodyPr>
          <a:lstStyle/>
          <a:p>
            <a:r>
              <a:rPr lang="fi-FI" sz="3600"/>
              <a:t>Kaukolämmön hankinta ja yhteistuotannon osuus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1FD0643-A21D-4F59-B4AA-13DCFCE36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0</a:t>
            </a:fld>
            <a:endParaRPr lang="en-US"/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E5FDD1B0-76ED-4F1D-B1B1-EE5506F41C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28416" y="1691446"/>
            <a:ext cx="7705370" cy="4635562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F3BCE03-B0DF-D450-755E-53D326AFD9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151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>
            <a:extLst>
              <a:ext uri="{FF2B5EF4-FFF2-40B4-BE49-F238E27FC236}">
                <a16:creationId xmlns:a16="http://schemas.microsoft.com/office/drawing/2014/main" id="{CCA0876A-B724-4328-B4AE-B009F5CD0F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39451" y="1351106"/>
            <a:ext cx="7543919" cy="4923643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20EF11A0-872B-4CFB-8A0A-E3E5EB28A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200"/>
              <a:t>Kaukolämmön hankinta sekä kaukolämmön ja siihen liittyvän sähkön tuotantoon käytetyt polttoaineet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072D8E7-1C6E-4C8E-8720-B0FC26817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1</a:t>
            </a:fld>
            <a:endParaRPr lang="en-US"/>
          </a:p>
        </p:txBody>
      </p:sp>
      <p:graphicFrame>
        <p:nvGraphicFramePr>
          <p:cNvPr id="11" name="Taulukko 10">
            <a:extLst>
              <a:ext uri="{FF2B5EF4-FFF2-40B4-BE49-F238E27FC236}">
                <a16:creationId xmlns:a16="http://schemas.microsoft.com/office/drawing/2014/main" id="{7115F23E-8C1C-4ACB-9DE1-97F06B9234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169241"/>
              </p:ext>
            </p:extLst>
          </p:nvPr>
        </p:nvGraphicFramePr>
        <p:xfrm>
          <a:off x="8202165" y="2880840"/>
          <a:ext cx="3514867" cy="29067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3555">
                  <a:extLst>
                    <a:ext uri="{9D8B030D-6E8A-4147-A177-3AD203B41FA5}">
                      <a16:colId xmlns:a16="http://schemas.microsoft.com/office/drawing/2014/main" val="1304246720"/>
                    </a:ext>
                  </a:extLst>
                </a:gridCol>
                <a:gridCol w="811312">
                  <a:extLst>
                    <a:ext uri="{9D8B030D-6E8A-4147-A177-3AD203B41FA5}">
                      <a16:colId xmlns:a16="http://schemas.microsoft.com/office/drawing/2014/main" val="3487307987"/>
                    </a:ext>
                  </a:extLst>
                </a:gridCol>
              </a:tblGrid>
              <a:tr h="477088">
                <a:tc>
                  <a:txBody>
                    <a:bodyPr/>
                    <a:lstStyle/>
                    <a:p>
                      <a:pPr algn="l"/>
                      <a:r>
                        <a:rPr lang="fi-FI" sz="1200"/>
                        <a:t>Kaukolämmön hankinta yhteensä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i-FI" sz="12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36,9 TW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0852302"/>
                  </a:ext>
                </a:extLst>
              </a:tr>
              <a:tr h="477088">
                <a:tc>
                  <a:txBody>
                    <a:bodyPr/>
                    <a:lstStyle/>
                    <a:p>
                      <a:r>
                        <a:rPr lang="fi-FI" sz="1200"/>
                        <a:t>Kaukolämmön tuotanto polttoaineill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i-FI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1,8 </a:t>
                      </a:r>
                      <a:r>
                        <a:rPr lang="fi-FI" sz="120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Wh</a:t>
                      </a:r>
                      <a:endParaRPr lang="fi-FI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1665066"/>
                  </a:ext>
                </a:extLst>
              </a:tr>
              <a:tr h="737766">
                <a:tc>
                  <a:txBody>
                    <a:bodyPr/>
                    <a:lstStyle/>
                    <a:p>
                      <a:r>
                        <a:rPr lang="fi-FI" sz="1200"/>
                        <a:t>Kaukolämmön tuotantoon liittyvä sähkön tuotan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i-FI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,1 TW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2093322"/>
                  </a:ext>
                </a:extLst>
              </a:tr>
              <a:tr h="477088">
                <a:tc>
                  <a:txBody>
                    <a:bodyPr/>
                    <a:lstStyle/>
                    <a:p>
                      <a:r>
                        <a:rPr lang="fi-FI" sz="1200"/>
                        <a:t>Edellisiin käytetyt polttoaine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i-FI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8,6 TW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58612897"/>
                  </a:ext>
                </a:extLst>
              </a:tr>
              <a:tr h="737766">
                <a:tc>
                  <a:txBody>
                    <a:bodyPr/>
                    <a:lstStyle/>
                    <a:p>
                      <a:r>
                        <a:rPr lang="fi-FI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ämmön talteenotto ja lämpöpumpun tuotan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,9 TW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49239371"/>
                  </a:ext>
                </a:extLst>
              </a:tr>
            </a:tbl>
          </a:graphicData>
        </a:graphic>
      </p:graphicFrame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6DE2B6A-C8BA-5B3C-49D6-978D8E05F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0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5F9E9C6-8010-4AC4-ADA7-421FECB0E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0" y="365125"/>
            <a:ext cx="9051213" cy="1325563"/>
          </a:xfrm>
        </p:spPr>
        <p:txBody>
          <a:bodyPr>
            <a:normAutofit/>
          </a:bodyPr>
          <a:lstStyle/>
          <a:p>
            <a:r>
              <a:rPr lang="fi-FI" sz="3600"/>
              <a:t>Kaukolämmön hankinnan energialähteet 2022 polttoaineluokittain</a:t>
            </a:r>
            <a:endParaRPr lang="fi-FI" sz="3600">
              <a:solidFill>
                <a:srgbClr val="FF0000"/>
              </a:solidFill>
            </a:endParaRPr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F5D6C049-2558-48CB-8CD1-C27A1E421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2</a:t>
            </a:fld>
            <a:endParaRPr lang="en-US"/>
          </a:p>
        </p:txBody>
      </p:sp>
      <p:sp>
        <p:nvSpPr>
          <p:cNvPr id="13" name="Tekstiruutu 12">
            <a:extLst>
              <a:ext uri="{FF2B5EF4-FFF2-40B4-BE49-F238E27FC236}">
                <a16:creationId xmlns:a16="http://schemas.microsoft.com/office/drawing/2014/main" id="{3F8AC6C0-DAEE-4310-B80F-CE2AFEE53F6E}"/>
              </a:ext>
            </a:extLst>
          </p:cNvPr>
          <p:cNvSpPr txBox="1"/>
          <p:nvPr/>
        </p:nvSpPr>
        <p:spPr>
          <a:xfrm>
            <a:off x="6092266" y="4062522"/>
            <a:ext cx="4899094" cy="19107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fi-FI" sz="1600">
                <a:solidFill>
                  <a:schemeClr val="tx1">
                    <a:lumMod val="65000"/>
                    <a:lumOff val="35000"/>
                  </a:schemeClr>
                </a:solidFill>
              </a:rPr>
              <a:t>Jäte sisältää yhdyskuntajätteen, kierrätyspolttoaineet, purkupuun, kyllästetyn puun, muovijätteet ja vaaralliset jätteet. </a:t>
            </a:r>
          </a:p>
          <a:p>
            <a:pPr marL="742950" lvl="1" indent="-28575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fi-FI" sz="1600">
                <a:solidFill>
                  <a:schemeClr val="tx1">
                    <a:lumMod val="65000"/>
                    <a:lumOff val="35000"/>
                  </a:schemeClr>
                </a:solidFill>
              </a:rPr>
              <a:t>Jätteen bio-osuus on 54 % ja fossiilinen osuus 46 %.</a:t>
            </a:r>
            <a:endParaRPr lang="fi-FI" sz="140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600">
                <a:solidFill>
                  <a:schemeClr val="tx1">
                    <a:lumMod val="65000"/>
                    <a:lumOff val="35000"/>
                  </a:schemeClr>
                </a:solidFill>
              </a:rPr>
              <a:t>Muu biomassa: Muut bioperäiset polttoaine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600">
                <a:solidFill>
                  <a:schemeClr val="tx1">
                    <a:lumMod val="65000"/>
                    <a:lumOff val="35000"/>
                  </a:schemeClr>
                </a:solidFill>
              </a:rPr>
              <a:t>Muut: Sähkö, höyry, vety</a:t>
            </a:r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334D798A-DCAB-4F54-842A-733F35D39B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-444252" y="1768319"/>
            <a:ext cx="7026447" cy="4588406"/>
          </a:xfrm>
          <a:prstGeom prst="rect">
            <a:avLst/>
          </a:prstGeom>
        </p:spPr>
      </p:pic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93EC98B-4F98-E6B9-4E84-FC83955F54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7443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5F9E9C6-8010-4AC4-ADA7-421FECB0E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6161743" cy="1325563"/>
          </a:xfrm>
        </p:spPr>
        <p:txBody>
          <a:bodyPr>
            <a:normAutofit/>
          </a:bodyPr>
          <a:lstStyle/>
          <a:p>
            <a:r>
              <a:rPr lang="fi-FI" sz="3600"/>
              <a:t>Kaukolämmön hankinnan energialähteet 2022</a:t>
            </a:r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F5D6C049-2558-48CB-8CD1-C27A1E421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3</a:t>
            </a:fld>
            <a:endParaRPr lang="en-US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BA69EDD1-4D2E-46B7-B78C-9BD742089CE2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460479" y="1767763"/>
            <a:ext cx="5738812" cy="2529084"/>
          </a:xfrm>
        </p:spPr>
        <p:txBody>
          <a:bodyPr/>
          <a:lstStyle/>
          <a:p>
            <a:r>
              <a:rPr lang="fi-FI"/>
              <a:t>Hiilidioksidineutraalit 61 prosenttia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i-FI"/>
              <a:t>Uusiutuvat + hukkalämmöt</a:t>
            </a:r>
          </a:p>
          <a:p>
            <a:r>
              <a:rPr lang="fi-FI"/>
              <a:t>Kotimaiset</a:t>
            </a:r>
            <a:r>
              <a:rPr lang="fi-FI" baseline="30000"/>
              <a:t>*</a:t>
            </a:r>
            <a:r>
              <a:rPr lang="fi-FI"/>
              <a:t> 76 prosenttia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i-FI"/>
              <a:t>Hiilidioksidineutraalit + turve + osa luokasta ”Muut”</a:t>
            </a:r>
          </a:p>
          <a:p>
            <a:r>
              <a:rPr lang="fi-FI"/>
              <a:t>Fossiiliset tuontipolttoaineet 24 prosenttia</a:t>
            </a:r>
          </a:p>
        </p:txBody>
      </p:sp>
      <p:sp>
        <p:nvSpPr>
          <p:cNvPr id="13" name="Tekstiruutu 12">
            <a:extLst>
              <a:ext uri="{FF2B5EF4-FFF2-40B4-BE49-F238E27FC236}">
                <a16:creationId xmlns:a16="http://schemas.microsoft.com/office/drawing/2014/main" id="{3F8AC6C0-DAEE-4310-B80F-CE2AFEE53F6E}"/>
              </a:ext>
            </a:extLst>
          </p:cNvPr>
          <p:cNvSpPr txBox="1"/>
          <p:nvPr/>
        </p:nvSpPr>
        <p:spPr>
          <a:xfrm>
            <a:off x="6338626" y="4202447"/>
            <a:ext cx="573881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1">
                    <a:lumMod val="65000"/>
                    <a:lumOff val="35000"/>
                  </a:schemeClr>
                </a:solidFill>
              </a:rPr>
              <a:t>Hukkalämmöt: muuten hyödyntämättä jäävä lämpöenergia, esim. lämmön talteenotto jätevedestä, savukaasuista tai kaukojäähdytyksen paluuvedestä. Sis. myös lämpöpumpuilla tuotetun uusiutuvan lämmö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1">
                    <a:lumMod val="65000"/>
                    <a:lumOff val="35000"/>
                  </a:schemeClr>
                </a:solidFill>
              </a:rPr>
              <a:t>Muu biomassa: Jätteen bio-osuus, muut bioperäiset polttoaine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1">
                    <a:lumMod val="65000"/>
                    <a:lumOff val="35000"/>
                  </a:schemeClr>
                </a:solidFill>
              </a:rPr>
              <a:t>Muut: Jätteen ei-bio-osuus, muovi- ja ongelmajätteet, sähkö, höyry, v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sz="140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1">
                    <a:lumMod val="65000"/>
                    <a:lumOff val="35000"/>
                  </a:schemeClr>
                </a:solidFill>
              </a:rPr>
              <a:t>* Biomassan on laskennassa oletettu olevan kokonaan kotimaista. Luokasta ”muut” kotimaiseksi lasketaan kaikki jätteet, höyry, vety sekä 85 % sähköstä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sz="14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334D798A-DCAB-4F54-842A-733F35D39B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-444387" y="1767764"/>
            <a:ext cx="7026718" cy="4588584"/>
          </a:xfrm>
          <a:prstGeom prst="rect">
            <a:avLst/>
          </a:prstGeom>
        </p:spPr>
      </p:pic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2F2A5273-E6E8-6C7B-F3A4-1622FAFD4D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835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F4CD7F1-9F98-4163-A724-415E50D8A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6288995" cy="1325563"/>
          </a:xfrm>
        </p:spPr>
        <p:txBody>
          <a:bodyPr>
            <a:normAutofit/>
          </a:bodyPr>
          <a:lstStyle/>
          <a:p>
            <a:r>
              <a:rPr lang="fi-FI" sz="3600"/>
              <a:t>Kaukolämmön erillistuotannon energianlähteet 2022</a:t>
            </a:r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7FBCC101-9A1F-4EB2-A5F2-A4EC6E6E7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4</a:t>
            </a:fld>
            <a:endParaRPr lang="en-US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54BC3F76-7CBD-48DB-B7F9-FC2019187B30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364943" y="1690688"/>
            <a:ext cx="5578475" cy="2016073"/>
          </a:xfrm>
        </p:spPr>
        <p:txBody>
          <a:bodyPr/>
          <a:lstStyle/>
          <a:p>
            <a:r>
              <a:rPr lang="fi-FI"/>
              <a:t>Hiilidioksidineutraalit 73 prosenttia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i-FI"/>
              <a:t>Uusiutuvat + hukkalämmöt</a:t>
            </a:r>
          </a:p>
          <a:p>
            <a:r>
              <a:rPr lang="fi-FI"/>
              <a:t>Kotimaiset</a:t>
            </a:r>
            <a:r>
              <a:rPr lang="fi-FI" baseline="30000"/>
              <a:t>*</a:t>
            </a:r>
            <a:r>
              <a:rPr lang="fi-FI"/>
              <a:t> 82 prosenttia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i-FI"/>
              <a:t>Hiilidioksidineutraalit + turve + osa luokasta ”Muut”</a:t>
            </a:r>
          </a:p>
          <a:p>
            <a:r>
              <a:rPr lang="fi-FI"/>
              <a:t>Fossiiliset tuontipolttoaineet kaukolämmön erillistuotannossa 18 prosenttia</a:t>
            </a:r>
          </a:p>
        </p:txBody>
      </p:sp>
      <p:sp>
        <p:nvSpPr>
          <p:cNvPr id="12" name="Tekstiruutu 11">
            <a:extLst>
              <a:ext uri="{FF2B5EF4-FFF2-40B4-BE49-F238E27FC236}">
                <a16:creationId xmlns:a16="http://schemas.microsoft.com/office/drawing/2014/main" id="{44B2721F-99D2-4BEF-B6CD-747C4626D312}"/>
              </a:ext>
            </a:extLst>
          </p:cNvPr>
          <p:cNvSpPr txBox="1"/>
          <p:nvPr/>
        </p:nvSpPr>
        <p:spPr>
          <a:xfrm>
            <a:off x="6224380" y="4181400"/>
            <a:ext cx="57190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1">
                    <a:lumMod val="65000"/>
                    <a:lumOff val="35000"/>
                  </a:schemeClr>
                </a:solidFill>
              </a:rPr>
              <a:t>Hukkalämmöt: muuten hyödyntämättä jäävä lämpöenergia, esim. lämmön talteenotto jätevedestä, savukaasuista tai kaukojäähdytyksen paluuvedestä. Sis. myös lämpöpumpuilla tuotetun uusiutuvan lämmö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1">
                    <a:lumMod val="65000"/>
                    <a:lumOff val="35000"/>
                  </a:schemeClr>
                </a:solidFill>
              </a:rPr>
              <a:t>Muu biomassa: Jätteen bio-osuus, muut bioperäiset polttoaine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1">
                    <a:lumMod val="65000"/>
                    <a:lumOff val="35000"/>
                  </a:schemeClr>
                </a:solidFill>
              </a:rPr>
              <a:t>Muut: Yhdyskuntien ja teollisuuden jätteen ei-bio-osuus, muovi- ja ongelmajätteet, sähkö, höyry, vety</a:t>
            </a:r>
          </a:p>
          <a:p>
            <a:endParaRPr lang="fi-FI" sz="140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fi-FI" sz="1400">
                <a:solidFill>
                  <a:schemeClr val="tx1">
                    <a:lumMod val="65000"/>
                    <a:lumOff val="35000"/>
                  </a:schemeClr>
                </a:solidFill>
              </a:rPr>
              <a:t>* Biomassan on laskennassa oletettu olevan kokonaan kotimaista. Luokasta ”muut” kotimaiseksi lasketaan kaikki jätteet, höyry, vety sekä 85 % sähköstä</a:t>
            </a:r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4DDB02A8-5082-4430-80F3-5FA3A01527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-492303" y="1553215"/>
            <a:ext cx="7569909" cy="4940606"/>
          </a:xfrm>
          <a:prstGeom prst="rect">
            <a:avLst/>
          </a:prstGeom>
        </p:spPr>
      </p:pic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4D022B7B-F01A-C6BF-7A2D-3749FA3F3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9734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 5">
            <a:extLst>
              <a:ext uri="{FF2B5EF4-FFF2-40B4-BE49-F238E27FC236}">
                <a16:creationId xmlns:a16="http://schemas.microsoft.com/office/drawing/2014/main" id="{63DDCB7C-C40B-40DD-B644-BC9625BEED4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342" r="4342"/>
          <a:stretch/>
        </p:blipFill>
        <p:spPr>
          <a:xfrm>
            <a:off x="-545750" y="1804318"/>
            <a:ext cx="6365339" cy="4552032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028F98D-00F5-4A49-807A-C9433FC49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19" y="311178"/>
            <a:ext cx="10419433" cy="1013819"/>
          </a:xfrm>
        </p:spPr>
        <p:txBody>
          <a:bodyPr>
            <a:normAutofit fontScale="90000"/>
          </a:bodyPr>
          <a:lstStyle/>
          <a:p>
            <a:r>
              <a:rPr lang="fi-FI" sz="4000"/>
              <a:t>Kaukolämmön hankinnan energialähteet 2022 ja 2021</a:t>
            </a:r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50BA4685-CD36-4381-8DF2-2FF3B5D93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CF942F32-AEA6-4729-B543-FDEF9C78E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5</a:t>
            </a:fld>
            <a:endParaRPr lang="en-US"/>
          </a:p>
        </p:txBody>
      </p:sp>
      <p:sp>
        <p:nvSpPr>
          <p:cNvPr id="11" name="Tekstiruutu 10">
            <a:extLst>
              <a:ext uri="{FF2B5EF4-FFF2-40B4-BE49-F238E27FC236}">
                <a16:creationId xmlns:a16="http://schemas.microsoft.com/office/drawing/2014/main" id="{225601B5-6B7D-4796-8D9C-3ED9FD3D19DF}"/>
              </a:ext>
            </a:extLst>
          </p:cNvPr>
          <p:cNvSpPr txBox="1"/>
          <p:nvPr/>
        </p:nvSpPr>
        <p:spPr>
          <a:xfrm>
            <a:off x="9073997" y="3429000"/>
            <a:ext cx="280204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b="0"/>
              <a:t>Hukkalämmöt: muuten hyödyntämättä jäävä lämpöenergia, esimerkiksi lämmön talteenotto jätevedestä, savukaasuista, kaukojäähdytyksen paluuvedestä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b="0"/>
              <a:t>Muu biomassa: Jätteen bio-osuus, muut bioperäiset polttoaineet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b="0"/>
              <a:t>Muut: Jätteen ei-bio-osuus, muovi- ja ongelmajätteet, sähkö, höyry, vety</a:t>
            </a:r>
          </a:p>
        </p:txBody>
      </p:sp>
      <p:sp>
        <p:nvSpPr>
          <p:cNvPr id="4" name="Tekstiruutu 3">
            <a:extLst>
              <a:ext uri="{FF2B5EF4-FFF2-40B4-BE49-F238E27FC236}">
                <a16:creationId xmlns:a16="http://schemas.microsoft.com/office/drawing/2014/main" id="{22E27978-716C-4847-9898-969F66A853A5}"/>
              </a:ext>
            </a:extLst>
          </p:cNvPr>
          <p:cNvSpPr txBox="1"/>
          <p:nvPr/>
        </p:nvSpPr>
        <p:spPr>
          <a:xfrm>
            <a:off x="648377" y="1724724"/>
            <a:ext cx="10127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400" b="1">
                <a:solidFill>
                  <a:schemeClr val="accent1"/>
                </a:solidFill>
              </a:rPr>
              <a:t>2022</a:t>
            </a:r>
          </a:p>
        </p:txBody>
      </p:sp>
      <p:sp>
        <p:nvSpPr>
          <p:cNvPr id="13" name="Tekstiruutu 12">
            <a:extLst>
              <a:ext uri="{FF2B5EF4-FFF2-40B4-BE49-F238E27FC236}">
                <a16:creationId xmlns:a16="http://schemas.microsoft.com/office/drawing/2014/main" id="{F673B476-1141-4264-AF86-9E94B0A3735C}"/>
              </a:ext>
            </a:extLst>
          </p:cNvPr>
          <p:cNvSpPr txBox="1"/>
          <p:nvPr/>
        </p:nvSpPr>
        <p:spPr>
          <a:xfrm>
            <a:off x="8144912" y="2186389"/>
            <a:ext cx="929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400" b="1">
                <a:solidFill>
                  <a:schemeClr val="accent1"/>
                </a:solidFill>
              </a:rPr>
              <a:t>2021</a:t>
            </a: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2F3D2D71-E849-45B3-84F7-B13E7BEAF3F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085" r="6085"/>
          <a:stretch/>
        </p:blipFill>
        <p:spPr>
          <a:xfrm>
            <a:off x="4512180" y="2569552"/>
            <a:ext cx="5200204" cy="3866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7563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0EF11A0-872B-4CFB-8A0A-E3E5EB28A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/>
              <a:t>Kaukolämmön hankinnan energialähteet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072D8E7-1C6E-4C8E-8720-B0FC26817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6</a:t>
            </a:fld>
            <a:endParaRPr lang="en-US"/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451A9019-AB6E-4F0A-8C3E-A5DE98F2C2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19340" y="1474514"/>
            <a:ext cx="7797838" cy="4692781"/>
          </a:xfrm>
          <a:prstGeom prst="rect">
            <a:avLst/>
          </a:prstGeom>
        </p:spPr>
      </p:pic>
      <p:sp>
        <p:nvSpPr>
          <p:cNvPr id="6" name="Tekstiruutu 5">
            <a:extLst>
              <a:ext uri="{FF2B5EF4-FFF2-40B4-BE49-F238E27FC236}">
                <a16:creationId xmlns:a16="http://schemas.microsoft.com/office/drawing/2014/main" id="{36F763D5-197A-49F3-9D48-C6C5E530CD38}"/>
              </a:ext>
            </a:extLst>
          </p:cNvPr>
          <p:cNvSpPr txBox="1"/>
          <p:nvPr/>
        </p:nvSpPr>
        <p:spPr>
          <a:xfrm>
            <a:off x="8674992" y="1570604"/>
            <a:ext cx="3311958" cy="3672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1000"/>
              </a:spcBef>
              <a:buClr>
                <a:schemeClr val="accent3">
                  <a:lumMod val="75000"/>
                </a:schemeClr>
              </a:buClr>
              <a:buFont typeface="Arial"/>
              <a:buChar char="•"/>
            </a:pP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iomassa ja hukkalämmöt ovat korvanneet fossiilisia polttoaineita kaukolämmön tuotannossa. </a:t>
            </a:r>
          </a:p>
          <a:p>
            <a:pPr marL="228600" indent="-228600">
              <a:spcBef>
                <a:spcPts val="1000"/>
              </a:spcBef>
              <a:buClr>
                <a:schemeClr val="accent3">
                  <a:lumMod val="75000"/>
                </a:schemeClr>
              </a:buClr>
              <a:buFont typeface="Arial"/>
              <a:buChar char="•"/>
            </a:pP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iomassan käyttö on kaksinkertaistunut vuodesta 2010.</a:t>
            </a:r>
          </a:p>
          <a:p>
            <a:pPr marL="228600" indent="-228600">
              <a:spcBef>
                <a:spcPts val="1000"/>
              </a:spcBef>
              <a:buClr>
                <a:schemeClr val="accent3">
                  <a:lumMod val="75000"/>
                </a:schemeClr>
              </a:buClr>
              <a:buFont typeface="Arial"/>
              <a:buChar char="•"/>
            </a:pP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ukkalämpöjen määrä on yli kolminkertaistunut vuodesta 2010. Hukkalämpöjä hyödyntämällä vältetään polttoaineiden käyttöä.</a:t>
            </a:r>
          </a:p>
        </p:txBody>
      </p:sp>
      <p:sp>
        <p:nvSpPr>
          <p:cNvPr id="4" name="Tekstiruutu 3">
            <a:extLst>
              <a:ext uri="{FF2B5EF4-FFF2-40B4-BE49-F238E27FC236}">
                <a16:creationId xmlns:a16="http://schemas.microsoft.com/office/drawing/2014/main" id="{C2C4D5A9-8180-3B7B-6D23-AF4F071D3C64}"/>
              </a:ext>
            </a:extLst>
          </p:cNvPr>
          <p:cNvSpPr txBox="1"/>
          <p:nvPr/>
        </p:nvSpPr>
        <p:spPr>
          <a:xfrm>
            <a:off x="5735678" y="6124181"/>
            <a:ext cx="26920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200">
                <a:solidFill>
                  <a:schemeClr val="tx1">
                    <a:lumMod val="65000"/>
                    <a:lumOff val="35000"/>
                  </a:schemeClr>
                </a:solidFill>
              </a:rPr>
              <a:t>*sisältää lämpöpumput ja hukkalämmöt</a:t>
            </a:r>
          </a:p>
        </p:txBody>
      </p:sp>
      <p:sp>
        <p:nvSpPr>
          <p:cNvPr id="8" name="Päivämäärän paikkamerkki 7">
            <a:extLst>
              <a:ext uri="{FF2B5EF4-FFF2-40B4-BE49-F238E27FC236}">
                <a16:creationId xmlns:a16="http://schemas.microsoft.com/office/drawing/2014/main" id="{990ECF33-3A94-98FB-F5F6-7457F05AD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9123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F2C70D6-C5FC-4BA3-A355-D6A1505A2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sz="3600"/>
              <a:t>Kaukolämmön ja siihen liittyvän yhteistuotantosähkön energialähteet 2022 alueittain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27C7678A-C533-45F5-87ED-EEE7B110E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7</a:t>
            </a:fld>
            <a:endParaRPr lang="en-US"/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94F19A04-DF96-48ED-9A8D-FEB31DF5E9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20080" y="1554600"/>
            <a:ext cx="7408212" cy="4840335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CAC7B70-313B-5AA8-FDD4-BDA2C3761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0468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F2C70D6-C5FC-4BA3-A355-D6A1505A2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sz="3600"/>
              <a:t>Kaukolämmön ja siihen liittyvän yhteistuotantosähkön tuotannon energialähteet vuosina 2005 ja 2022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27C7678A-C533-45F5-87ED-EEE7B110E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8</a:t>
            </a:fld>
            <a:endParaRPr lang="en-US"/>
          </a:p>
        </p:txBody>
      </p:sp>
      <p:sp>
        <p:nvSpPr>
          <p:cNvPr id="11" name="Tekstiruutu 10">
            <a:extLst>
              <a:ext uri="{FF2B5EF4-FFF2-40B4-BE49-F238E27FC236}">
                <a16:creationId xmlns:a16="http://schemas.microsoft.com/office/drawing/2014/main" id="{A3E9856D-6884-4F34-9B1A-68E1CD58DF46}"/>
              </a:ext>
            </a:extLst>
          </p:cNvPr>
          <p:cNvSpPr txBox="1"/>
          <p:nvPr/>
        </p:nvSpPr>
        <p:spPr>
          <a:xfrm>
            <a:off x="614081" y="1677470"/>
            <a:ext cx="56807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000" b="1">
                <a:solidFill>
                  <a:schemeClr val="accent1"/>
                </a:solidFill>
              </a:rPr>
              <a:t>Vuosi 2005</a:t>
            </a:r>
          </a:p>
        </p:txBody>
      </p:sp>
      <p:sp>
        <p:nvSpPr>
          <p:cNvPr id="13" name="Tekstiruutu 12">
            <a:extLst>
              <a:ext uri="{FF2B5EF4-FFF2-40B4-BE49-F238E27FC236}">
                <a16:creationId xmlns:a16="http://schemas.microsoft.com/office/drawing/2014/main" id="{850D3B1B-9C7A-4E2B-9182-91666F6132B4}"/>
              </a:ext>
            </a:extLst>
          </p:cNvPr>
          <p:cNvSpPr txBox="1"/>
          <p:nvPr/>
        </p:nvSpPr>
        <p:spPr>
          <a:xfrm>
            <a:off x="6775824" y="1677470"/>
            <a:ext cx="51874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000" b="1">
                <a:solidFill>
                  <a:schemeClr val="accent1"/>
                </a:solidFill>
              </a:rPr>
              <a:t>Vuosi 2022</a:t>
            </a:r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0693C71A-9300-4A88-BCF7-0F73F65FB4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491" y="2008800"/>
            <a:ext cx="6168075" cy="4031999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A0726090-9BEA-456D-96A5-16D84FC27F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971378" y="2009403"/>
            <a:ext cx="6171862" cy="4032536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9313871-6DF8-1E66-CECB-A84440460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9840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9F290A6B-CAEF-4DF1-834B-10E5BA973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9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0F56FAE-20F1-4340-AFA1-5036AF7B4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0" y="365125"/>
            <a:ext cx="8543567" cy="1325563"/>
          </a:xfrm>
        </p:spPr>
        <p:txBody>
          <a:bodyPr>
            <a:noAutofit/>
          </a:bodyPr>
          <a:lstStyle/>
          <a:p>
            <a:r>
              <a:rPr lang="fi-FI" sz="3200"/>
              <a:t>Uusiutuvien polttoaineiden käyttö kaukolämmön ja siihen liittyvän sähkön tuotantoon</a:t>
            </a:r>
          </a:p>
        </p:txBody>
      </p:sp>
      <p:pic>
        <p:nvPicPr>
          <p:cNvPr id="2" name="Kuva 1">
            <a:extLst>
              <a:ext uri="{FF2B5EF4-FFF2-40B4-BE49-F238E27FC236}">
                <a16:creationId xmlns:a16="http://schemas.microsoft.com/office/drawing/2014/main" id="{44E4A1B2-F047-4904-AFBD-24ECA1DEA6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90928" y="1698933"/>
            <a:ext cx="7627185" cy="4711376"/>
          </a:xfrm>
          <a:prstGeom prst="rect">
            <a:avLst/>
          </a:prstGeom>
        </p:spPr>
      </p:pic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FF4C101-8E01-A2F8-5B2E-5322E5DEA1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4337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58FF983C-6589-F632-A5AB-3BC0CF79E2B5}"/>
              </a:ext>
            </a:extLst>
          </p:cNvPr>
          <p:cNvSpPr/>
          <p:nvPr/>
        </p:nvSpPr>
        <p:spPr>
          <a:xfrm>
            <a:off x="7102532" y="3311810"/>
            <a:ext cx="1112430" cy="143164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fi-FI" sz="1200">
              <a:latin typeface="Verdana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5BF55D7-69B9-A99E-78B3-8F3D1BE8A3DF}"/>
              </a:ext>
            </a:extLst>
          </p:cNvPr>
          <p:cNvSpPr/>
          <p:nvPr/>
        </p:nvSpPr>
        <p:spPr>
          <a:xfrm>
            <a:off x="3162300" y="3311810"/>
            <a:ext cx="1112430" cy="14316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fi-FI" sz="1200">
              <a:latin typeface="Verdana"/>
            </a:endParaRP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7224A74-FA40-4ECD-B862-413360E065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7224A74-FA40-4ECD-B862-413360E06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4EEB65-92EE-4A6D-87D1-6C01367DFC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782959"/>
            <a:ext cx="10658475" cy="480131"/>
          </a:xfrm>
        </p:spPr>
        <p:txBody>
          <a:bodyPr vert="horz"/>
          <a:lstStyle/>
          <a:p>
            <a:r>
              <a:rPr lang="fi-FI" sz="2800"/>
              <a:t>Tilastotietoja 2022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685F63-30B2-41B1-95DD-A4E1B9C70F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fi-FI" noProof="0" smtClean="0"/>
              <a:pPr/>
              <a:t>2</a:t>
            </a:fld>
            <a:endParaRPr lang="fi-FI" noProof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41B43EC-07C8-4606-9D40-5313638C1478}"/>
              </a:ext>
            </a:extLst>
          </p:cNvPr>
          <p:cNvSpPr/>
          <p:nvPr/>
        </p:nvSpPr>
        <p:spPr>
          <a:xfrm>
            <a:off x="4274729" y="3311811"/>
            <a:ext cx="2564221" cy="14316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fi-FI" sz="2800">
                <a:latin typeface="Verdana"/>
              </a:rPr>
              <a:t>~16 200 km</a:t>
            </a:r>
          </a:p>
          <a:p>
            <a:pPr marL="0" marR="0" indent="0" algn="ctr" defTabSz="91440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fi-FI" sz="1200">
                <a:latin typeface="Verdana"/>
              </a:rPr>
              <a:t>kaukolämpöverkkoja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2FA56DA-7AFC-4535-9005-F871B889F75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086" t="2611"/>
          <a:stretch/>
        </p:blipFill>
        <p:spPr>
          <a:xfrm>
            <a:off x="758673" y="1808163"/>
            <a:ext cx="2223563" cy="4429125"/>
          </a:xfrm>
          <a:prstGeom prst="rect">
            <a:avLst/>
          </a:prstGeom>
          <a:ln>
            <a:solidFill>
              <a:schemeClr val="lt1"/>
            </a:solidFill>
          </a:ln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059BCA-0748-42D6-878D-6B413D6E6CE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i-FI"/>
              <a:t>9.11.2023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7C1198E-C2BC-7D05-652D-D97085F47520}"/>
              </a:ext>
            </a:extLst>
          </p:cNvPr>
          <p:cNvSpPr/>
          <p:nvPr/>
        </p:nvSpPr>
        <p:spPr>
          <a:xfrm>
            <a:off x="8214962" y="3311811"/>
            <a:ext cx="2564221" cy="143164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fi-FI" sz="2800">
                <a:latin typeface="Verdana"/>
              </a:rPr>
              <a:t>~9,1 </a:t>
            </a:r>
            <a:r>
              <a:rPr lang="fi-FI" sz="2800" err="1">
                <a:latin typeface="Verdana"/>
              </a:rPr>
              <a:t>snt</a:t>
            </a:r>
            <a:r>
              <a:rPr lang="fi-FI" sz="2800">
                <a:latin typeface="Verdana"/>
              </a:rPr>
              <a:t>/kWh</a:t>
            </a:r>
          </a:p>
          <a:p>
            <a:pPr marL="0" marR="0" indent="0" algn="ctr" defTabSz="91440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fi-FI" sz="1200">
                <a:latin typeface="Verdana"/>
              </a:rPr>
              <a:t>keskimääräinen hinta veroineen</a:t>
            </a:r>
          </a:p>
        </p:txBody>
      </p:sp>
      <p:grpSp>
        <p:nvGrpSpPr>
          <p:cNvPr id="25" name="Ryhmä 24">
            <a:extLst>
              <a:ext uri="{FF2B5EF4-FFF2-40B4-BE49-F238E27FC236}">
                <a16:creationId xmlns:a16="http://schemas.microsoft.com/office/drawing/2014/main" id="{01ECCC5C-76E0-74EC-4794-6C4B3A267363}"/>
              </a:ext>
            </a:extLst>
          </p:cNvPr>
          <p:cNvGrpSpPr/>
          <p:nvPr/>
        </p:nvGrpSpPr>
        <p:grpSpPr>
          <a:xfrm>
            <a:off x="7102532" y="1808161"/>
            <a:ext cx="3676654" cy="1431649"/>
            <a:chOff x="7102529" y="4815460"/>
            <a:chExt cx="3676654" cy="1431649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F1B2067-8502-D6E6-4667-8E5A404A8867}"/>
                </a:ext>
              </a:extLst>
            </p:cNvPr>
            <p:cNvSpPr/>
            <p:nvPr/>
          </p:nvSpPr>
          <p:spPr>
            <a:xfrm>
              <a:off x="7102529" y="4815460"/>
              <a:ext cx="1112431" cy="143164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fi-FI" sz="1200">
                <a:latin typeface="Verdana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A7640D0-B6D0-6484-3BE4-F60C4E093704}"/>
                </a:ext>
              </a:extLst>
            </p:cNvPr>
            <p:cNvSpPr/>
            <p:nvPr/>
          </p:nvSpPr>
          <p:spPr>
            <a:xfrm>
              <a:off x="8214962" y="4815460"/>
              <a:ext cx="2564221" cy="143164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fi-FI" sz="2800">
                  <a:latin typeface="Verdana"/>
                </a:rPr>
                <a:t>~2,9 milj. ihmistä</a:t>
              </a:r>
            </a:p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fi-FI" sz="1200">
                  <a:latin typeface="Verdana"/>
                </a:rPr>
                <a:t>asuu kaukolämmitetyissä taloissa</a:t>
              </a:r>
            </a:p>
          </p:txBody>
        </p:sp>
        <p:pic>
          <p:nvPicPr>
            <p:cNvPr id="24" name="Graphic 23" descr="Group success with solid fill">
              <a:extLst>
                <a:ext uri="{FF2B5EF4-FFF2-40B4-BE49-F238E27FC236}">
                  <a16:creationId xmlns:a16="http://schemas.microsoft.com/office/drawing/2014/main" id="{87EDD15F-7335-89DF-C60F-1DA3326A30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01547" y="5074084"/>
              <a:ext cx="914400" cy="914400"/>
            </a:xfrm>
            <a:prstGeom prst="rect">
              <a:avLst/>
            </a:prstGeom>
          </p:spPr>
        </p:pic>
      </p:grpSp>
      <p:grpSp>
        <p:nvGrpSpPr>
          <p:cNvPr id="23" name="Ryhmä 22">
            <a:extLst>
              <a:ext uri="{FF2B5EF4-FFF2-40B4-BE49-F238E27FC236}">
                <a16:creationId xmlns:a16="http://schemas.microsoft.com/office/drawing/2014/main" id="{8B418B97-27BB-4F7A-B962-3AE3FBA9A4FE}"/>
              </a:ext>
            </a:extLst>
          </p:cNvPr>
          <p:cNvGrpSpPr/>
          <p:nvPr/>
        </p:nvGrpSpPr>
        <p:grpSpPr>
          <a:xfrm>
            <a:off x="7102532" y="4834079"/>
            <a:ext cx="3676651" cy="1431650"/>
            <a:chOff x="7102532" y="1808162"/>
            <a:chExt cx="3676651" cy="143165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5996E88-A9FB-7D84-5DE8-43ECFE457735}"/>
                </a:ext>
              </a:extLst>
            </p:cNvPr>
            <p:cNvSpPr/>
            <p:nvPr/>
          </p:nvSpPr>
          <p:spPr>
            <a:xfrm>
              <a:off x="7102532" y="1808162"/>
              <a:ext cx="1112430" cy="1431649"/>
            </a:xfrm>
            <a:prstGeom prst="rect">
              <a:avLst/>
            </a:prstGeom>
            <a:solidFill>
              <a:schemeClr val="accent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fi-FI" sz="1200">
                <a:latin typeface="Verdana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3B139C2-F262-4208-ADA3-4248B876C78D}"/>
                </a:ext>
              </a:extLst>
            </p:cNvPr>
            <p:cNvSpPr/>
            <p:nvPr/>
          </p:nvSpPr>
          <p:spPr>
            <a:xfrm>
              <a:off x="8214962" y="1808163"/>
              <a:ext cx="2564221" cy="1431649"/>
            </a:xfrm>
            <a:prstGeom prst="rect">
              <a:avLst/>
            </a:prstGeom>
            <a:solidFill>
              <a:schemeClr val="accent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fi-FI" sz="2800">
                  <a:latin typeface="Verdana"/>
                </a:rPr>
                <a:t>~3 mrd. EUR </a:t>
              </a:r>
              <a:br>
                <a:rPr lang="fi-FI" sz="1400">
                  <a:latin typeface="Verdana"/>
                </a:rPr>
              </a:br>
              <a:r>
                <a:rPr lang="fi-FI" sz="1200">
                  <a:latin typeface="Verdana"/>
                </a:rPr>
                <a:t>myydyn lämmön arvo veroineen</a:t>
              </a:r>
            </a:p>
          </p:txBody>
        </p:sp>
        <p:pic>
          <p:nvPicPr>
            <p:cNvPr id="26" name="Graphic 25" descr="Coins outline">
              <a:extLst>
                <a:ext uri="{FF2B5EF4-FFF2-40B4-BE49-F238E27FC236}">
                  <a16:creationId xmlns:a16="http://schemas.microsoft.com/office/drawing/2014/main" id="{DF3F6D23-3E24-E57B-AF5F-A5378454441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201547" y="2042540"/>
              <a:ext cx="914400" cy="914400"/>
            </a:xfrm>
            <a:prstGeom prst="rect">
              <a:avLst/>
            </a:prstGeom>
          </p:spPr>
        </p:pic>
      </p:grp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F7BFCE9B-93E0-3ED9-CE2B-D12647DF1AB8}"/>
              </a:ext>
            </a:extLst>
          </p:cNvPr>
          <p:cNvGrpSpPr/>
          <p:nvPr/>
        </p:nvGrpSpPr>
        <p:grpSpPr>
          <a:xfrm>
            <a:off x="3162300" y="4834079"/>
            <a:ext cx="3676650" cy="1431650"/>
            <a:chOff x="3162300" y="1808162"/>
            <a:chExt cx="3676650" cy="143165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F583E33-AC50-A090-F4D3-F0E72B057A99}"/>
                </a:ext>
              </a:extLst>
            </p:cNvPr>
            <p:cNvSpPr/>
            <p:nvPr/>
          </p:nvSpPr>
          <p:spPr>
            <a:xfrm>
              <a:off x="3162300" y="1808162"/>
              <a:ext cx="1112430" cy="14316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fi-FI" sz="1200">
                <a:latin typeface="Verdana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F3040C4-7C62-4340-85D2-F98DC5EA5DAB}"/>
                </a:ext>
              </a:extLst>
            </p:cNvPr>
            <p:cNvSpPr/>
            <p:nvPr/>
          </p:nvSpPr>
          <p:spPr>
            <a:xfrm>
              <a:off x="4274729" y="1808163"/>
              <a:ext cx="2564221" cy="14316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fi-FI" sz="2800">
                  <a:latin typeface="Verdana"/>
                </a:rPr>
                <a:t>46 % </a:t>
              </a:r>
              <a:br>
                <a:rPr lang="fi-FI" sz="1400">
                  <a:latin typeface="Verdana"/>
                </a:rPr>
              </a:br>
              <a:r>
                <a:rPr lang="fi-FI" sz="1200">
                  <a:latin typeface="Verdana"/>
                </a:rPr>
                <a:t>markkinaosuus*</a:t>
              </a:r>
            </a:p>
          </p:txBody>
        </p:sp>
        <p:pic>
          <p:nvPicPr>
            <p:cNvPr id="28" name="Graphic 27" descr="Harvey Balls 50% with solid fill">
              <a:extLst>
                <a:ext uri="{FF2B5EF4-FFF2-40B4-BE49-F238E27FC236}">
                  <a16:creationId xmlns:a16="http://schemas.microsoft.com/office/drawing/2014/main" id="{FDD56339-598B-7A7B-A6D7-CEF1FBD16B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261315" y="2066787"/>
              <a:ext cx="914400" cy="914400"/>
            </a:xfrm>
            <a:prstGeom prst="rect">
              <a:avLst/>
            </a:prstGeom>
          </p:spPr>
        </p:pic>
      </p:grpSp>
      <p:pic>
        <p:nvPicPr>
          <p:cNvPr id="30" name="Graphic 29" descr="Network with solid fill">
            <a:extLst>
              <a:ext uri="{FF2B5EF4-FFF2-40B4-BE49-F238E27FC236}">
                <a16:creationId xmlns:a16="http://schemas.microsoft.com/office/drawing/2014/main" id="{ADB9349D-D238-65A9-06F1-06BE07CCF10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261315" y="3570435"/>
            <a:ext cx="914400" cy="914400"/>
          </a:xfrm>
          <a:prstGeom prst="rect">
            <a:avLst/>
          </a:prstGeom>
        </p:spPr>
      </p:pic>
      <p:pic>
        <p:nvPicPr>
          <p:cNvPr id="32" name="Graphic 31" descr="Supply And Demand with solid fill">
            <a:extLst>
              <a:ext uri="{FF2B5EF4-FFF2-40B4-BE49-F238E27FC236}">
                <a16:creationId xmlns:a16="http://schemas.microsoft.com/office/drawing/2014/main" id="{0522A6D9-923F-C1E9-21FC-FAD5511A215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201547" y="3570434"/>
            <a:ext cx="914400" cy="914400"/>
          </a:xfrm>
          <a:prstGeom prst="rect">
            <a:avLst/>
          </a:prstGeom>
        </p:spPr>
      </p:pic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949661AC-DAFE-7D4F-BBA8-ADB449EC01EA}"/>
              </a:ext>
            </a:extLst>
          </p:cNvPr>
          <p:cNvSpPr txBox="1">
            <a:spLocks/>
          </p:cNvSpPr>
          <p:nvPr/>
        </p:nvSpPr>
        <p:spPr>
          <a:xfrm>
            <a:off x="758672" y="1313631"/>
            <a:ext cx="2223563" cy="48013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>
                  <a:lumMod val="75000"/>
                </a:schemeClr>
              </a:buClr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>
                  <a:lumMod val="50000"/>
                </a:schemeClr>
              </a:buClr>
              <a:buFont typeface="Lucida Grande"/>
              <a:buChar char="–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i-FI" sz="1400"/>
              <a:t>Kaukolämpöverkot Suomessa</a:t>
            </a:r>
          </a:p>
        </p:txBody>
      </p:sp>
      <p:grpSp>
        <p:nvGrpSpPr>
          <p:cNvPr id="19" name="Ryhmä 18">
            <a:extLst>
              <a:ext uri="{FF2B5EF4-FFF2-40B4-BE49-F238E27FC236}">
                <a16:creationId xmlns:a16="http://schemas.microsoft.com/office/drawing/2014/main" id="{D4299FDF-48F4-94BC-55E4-42D79B7C3654}"/>
              </a:ext>
            </a:extLst>
          </p:cNvPr>
          <p:cNvGrpSpPr/>
          <p:nvPr/>
        </p:nvGrpSpPr>
        <p:grpSpPr>
          <a:xfrm>
            <a:off x="3162298" y="1808161"/>
            <a:ext cx="3676652" cy="1431649"/>
            <a:chOff x="3162297" y="4815460"/>
            <a:chExt cx="3676652" cy="1431649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A206AFA-A945-7D8A-40AB-85D37B31081D}"/>
                </a:ext>
              </a:extLst>
            </p:cNvPr>
            <p:cNvSpPr/>
            <p:nvPr/>
          </p:nvSpPr>
          <p:spPr>
            <a:xfrm>
              <a:off x="3162297" y="4815460"/>
              <a:ext cx="1112431" cy="14316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fi-FI" sz="1200">
                <a:latin typeface="Verdana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57BE54E-2065-4AF5-90E3-7407DF0969DA}"/>
                </a:ext>
              </a:extLst>
            </p:cNvPr>
            <p:cNvSpPr/>
            <p:nvPr/>
          </p:nvSpPr>
          <p:spPr>
            <a:xfrm>
              <a:off x="4274728" y="4815460"/>
              <a:ext cx="2564221" cy="14316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fi-FI" sz="2800">
                  <a:latin typeface="Verdana"/>
                </a:rPr>
                <a:t>~33 </a:t>
              </a:r>
              <a:r>
                <a:rPr lang="fi-FI" sz="2800" err="1">
                  <a:latin typeface="Verdana"/>
                </a:rPr>
                <a:t>TWh</a:t>
              </a:r>
              <a:endParaRPr lang="fi-FI" sz="2800">
                <a:latin typeface="Verdana"/>
              </a:endParaRPr>
            </a:p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fi-FI" sz="1200">
                  <a:latin typeface="Verdana"/>
                </a:rPr>
                <a:t>myytyä energiaa vuosittain</a:t>
              </a:r>
            </a:p>
          </p:txBody>
        </p:sp>
        <p:pic>
          <p:nvPicPr>
            <p:cNvPr id="40" name="Graphic 39" descr="Fire with solid fill">
              <a:extLst>
                <a:ext uri="{FF2B5EF4-FFF2-40B4-BE49-F238E27FC236}">
                  <a16:creationId xmlns:a16="http://schemas.microsoft.com/office/drawing/2014/main" id="{B80B2BFE-7811-9F15-9094-AD35BE64FD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261313" y="5043646"/>
              <a:ext cx="914400" cy="914400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C0BE165D-D084-6E68-12D6-A8DBE423EBFD}"/>
              </a:ext>
            </a:extLst>
          </p:cNvPr>
          <p:cNvSpPr txBox="1"/>
          <p:nvPr/>
        </p:nvSpPr>
        <p:spPr>
          <a:xfrm>
            <a:off x="3162298" y="6279624"/>
            <a:ext cx="28463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900">
                <a:solidFill>
                  <a:schemeClr val="tx1">
                    <a:lumMod val="65000"/>
                    <a:lumOff val="35000"/>
                  </a:schemeClr>
                </a:solidFill>
              </a:rPr>
              <a:t>*lämmityksen markkinaosuus asuin- ja kerrostaloissa</a:t>
            </a:r>
          </a:p>
        </p:txBody>
      </p:sp>
    </p:spTree>
    <p:extLst>
      <p:ext uri="{BB962C8B-B14F-4D97-AF65-F5344CB8AC3E}">
        <p14:creationId xmlns:p14="http://schemas.microsoft.com/office/powerpoint/2010/main" val="7745520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00C3295-AFD1-4873-9F37-0D1DA1048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8545961" cy="1325563"/>
          </a:xfrm>
        </p:spPr>
        <p:txBody>
          <a:bodyPr>
            <a:normAutofit/>
          </a:bodyPr>
          <a:lstStyle/>
          <a:p>
            <a:r>
              <a:rPr lang="fi-FI" sz="3600"/>
              <a:t>Hukka- ja ympäristölämpöjen hyödyntäminen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4E6A3B19-E9CE-4581-AA73-57C0221AC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0</a:t>
            </a:fld>
            <a:endParaRPr lang="en-US"/>
          </a:p>
        </p:txBody>
      </p:sp>
      <p:sp>
        <p:nvSpPr>
          <p:cNvPr id="8" name="Tekstiruutu 9">
            <a:extLst>
              <a:ext uri="{FF2B5EF4-FFF2-40B4-BE49-F238E27FC236}">
                <a16:creationId xmlns:a16="http://schemas.microsoft.com/office/drawing/2014/main" id="{A23A80B5-D539-470D-880C-CA145B667BB1}"/>
              </a:ext>
            </a:extLst>
          </p:cNvPr>
          <p:cNvSpPr txBox="1"/>
          <p:nvPr/>
        </p:nvSpPr>
        <p:spPr>
          <a:xfrm>
            <a:off x="7079227" y="1526915"/>
            <a:ext cx="4835270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400">
                <a:solidFill>
                  <a:schemeClr val="tx1">
                    <a:lumMod val="65000"/>
                    <a:lumOff val="35000"/>
                  </a:schemeClr>
                </a:solidFill>
              </a:rPr>
              <a:t>Hukka- ja ympäristölämpöjen talteenotolla tuotettiin 4 935 </a:t>
            </a:r>
            <a:r>
              <a:rPr lang="fi-FI" sz="2400" err="1">
                <a:solidFill>
                  <a:schemeClr val="tx1">
                    <a:lumMod val="65000"/>
                    <a:lumOff val="35000"/>
                  </a:schemeClr>
                </a:solidFill>
              </a:rPr>
              <a:t>GWh</a:t>
            </a:r>
            <a:r>
              <a:rPr lang="fi-FI" sz="2400">
                <a:solidFill>
                  <a:schemeClr val="tx1">
                    <a:lumMod val="65000"/>
                    <a:lumOff val="35000"/>
                  </a:schemeClr>
                </a:solidFill>
              </a:rPr>
              <a:t> kaukolämpöä</a:t>
            </a:r>
          </a:p>
          <a:p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Siirtimillä talteen otettua lämpöä 3 485 </a:t>
            </a:r>
            <a:r>
              <a:rPr lang="fi-FI" err="1">
                <a:solidFill>
                  <a:schemeClr val="tx1">
                    <a:lumMod val="65000"/>
                    <a:lumOff val="35000"/>
                  </a:schemeClr>
                </a:solidFill>
              </a:rPr>
              <a:t>GWh</a:t>
            </a: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i-FI" sz="1600">
                <a:solidFill>
                  <a:schemeClr val="tx1">
                    <a:lumMod val="65000"/>
                    <a:lumOff val="35000"/>
                  </a:schemeClr>
                </a:solidFill>
              </a:rPr>
              <a:t>Merkittävimmät lämmönlähteet: savukaasut, teollisuusprosessit sekä geoterminen energia</a:t>
            </a:r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Lämpöpumpuilla tuotettua lämpöä 1 440 </a:t>
            </a:r>
            <a:r>
              <a:rPr lang="fi-FI" err="1">
                <a:solidFill>
                  <a:schemeClr val="tx1">
                    <a:lumMod val="65000"/>
                    <a:lumOff val="35000"/>
                  </a:schemeClr>
                </a:solidFill>
              </a:rPr>
              <a:t>GWh</a:t>
            </a: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i-FI" sz="1600">
                <a:solidFill>
                  <a:schemeClr val="tx1">
                    <a:lumMod val="65000"/>
                    <a:lumOff val="35000"/>
                  </a:schemeClr>
                </a:solidFill>
              </a:rPr>
              <a:t>Merkittävimmät lämmönlähteet: jätevesi, kaukojäähdytyksen paluuvesi ja datakeskukset</a:t>
            </a:r>
          </a:p>
          <a:p>
            <a:pPr lvl="1"/>
            <a:endParaRPr lang="fi-FI" sz="16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62B6EADA-F3AA-4487-A7D5-D48DCE453A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14082" y="1690688"/>
            <a:ext cx="6311419" cy="4119236"/>
          </a:xfrm>
          <a:prstGeom prst="rect">
            <a:avLst/>
          </a:prstGeom>
        </p:spPr>
      </p:pic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F2E64F99-FCE9-9AD2-B49D-735CB4AB15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3759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93A63DF-F56F-422F-8164-53755A453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600"/>
              <a:t>Kaukolämmön hankinnan hiilidioksidipäästöt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2255A4-0086-40C6-9F18-9E9B46B06D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1</a:t>
            </a:fld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1FD332D9-11C0-4740-9AAF-32E859FB6B25}"/>
              </a:ext>
            </a:extLst>
          </p:cNvPr>
          <p:cNvSpPr txBox="1"/>
          <p:nvPr/>
        </p:nvSpPr>
        <p:spPr>
          <a:xfrm>
            <a:off x="7521143" y="2201512"/>
            <a:ext cx="435136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Vuonna 2022 kaukolämmön tuotannon ominaispäästöt olivat 109,9 gCO</a:t>
            </a:r>
            <a:r>
              <a:rPr lang="fi-FI" baseline="-2500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/kWh 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Laskua edellisvuoteen: 0,4 %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Päästöt laskeneet 43 % vuodesta 2010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Yhteistuotantolaitosten polttoaineet on jyvitetty hyödynjakomenetelmällä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E56609BB-4757-41A6-861E-3C358157BC34}"/>
              </a:ext>
            </a:extLst>
          </p:cNvPr>
          <p:cNvSpPr txBox="1"/>
          <p:nvPr/>
        </p:nvSpPr>
        <p:spPr>
          <a:xfrm>
            <a:off x="2495176" y="6118355"/>
            <a:ext cx="3812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200">
                <a:solidFill>
                  <a:schemeClr val="tx1">
                    <a:lumMod val="65000"/>
                    <a:lumOff val="35000"/>
                  </a:schemeClr>
                </a:solidFill>
              </a:rPr>
              <a:t>Lähteet: </a:t>
            </a:r>
          </a:p>
          <a:p>
            <a:r>
              <a:rPr lang="fi-FI" sz="1200">
                <a:solidFill>
                  <a:schemeClr val="tx1">
                    <a:lumMod val="65000"/>
                    <a:lumOff val="35000"/>
                  </a:schemeClr>
                </a:solidFill>
              </a:rPr>
              <a:t>Tilastokeskus (2000…2021)</a:t>
            </a:r>
          </a:p>
          <a:p>
            <a:r>
              <a:rPr lang="fi-FI" sz="1200">
                <a:solidFill>
                  <a:schemeClr val="tx1">
                    <a:lumMod val="65000"/>
                    <a:lumOff val="35000"/>
                  </a:schemeClr>
                </a:solidFill>
              </a:rPr>
              <a:t>Energiateollisuus ry (1976…1999, 2022)</a:t>
            </a:r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2AFAD7EA-594C-433C-BABC-E015B2A3B7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14082" y="1540395"/>
            <a:ext cx="6763051" cy="4413999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1D03CB20-1032-3BAC-5388-3EE876151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3123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8E31165-4B09-483D-B313-E8CB9A794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2" y="365125"/>
            <a:ext cx="7695730" cy="1325563"/>
          </a:xfrm>
        </p:spPr>
        <p:txBody>
          <a:bodyPr>
            <a:normAutofit/>
          </a:bodyPr>
          <a:lstStyle/>
          <a:p>
            <a:r>
              <a:rPr lang="fi-FI" sz="3600"/>
              <a:t>Kaukolämmön keskihinta sekä minimi- ja maksimiarvot </a:t>
            </a:r>
            <a:r>
              <a:rPr lang="fi-FI" sz="2000"/>
              <a:t>(sis. alv)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30C65DBC-E89A-49B2-BA22-99A2F23FD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2</a:t>
            </a:fld>
            <a:endParaRPr lang="en-US"/>
          </a:p>
        </p:txBody>
      </p:sp>
      <p:sp>
        <p:nvSpPr>
          <p:cNvPr id="8" name="Tekstiruutu 9">
            <a:extLst>
              <a:ext uri="{FF2B5EF4-FFF2-40B4-BE49-F238E27FC236}">
                <a16:creationId xmlns:a16="http://schemas.microsoft.com/office/drawing/2014/main" id="{DEA2D510-32D6-4407-8ADB-B71B2850E0B4}"/>
              </a:ext>
            </a:extLst>
          </p:cNvPr>
          <p:cNvSpPr txBox="1"/>
          <p:nvPr/>
        </p:nvSpPr>
        <p:spPr>
          <a:xfrm>
            <a:off x="8189261" y="1875673"/>
            <a:ext cx="387058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Hinta sisältää kaikki verot, teho- ja energiamaksut ja mahdolliset muut vuotuiset kaukolämpömaksut. Ei sisällä liittymismaksuj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589E050E-0900-4FCE-86BC-7E01DA4F38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19660" y="1507238"/>
            <a:ext cx="6954209" cy="4764502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DF50714-53E0-BABB-9D2B-BBA0EF8E4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5689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60EE3A9-6661-488F-806A-49C549DB4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9380151" cy="1325563"/>
          </a:xfrm>
        </p:spPr>
        <p:txBody>
          <a:bodyPr>
            <a:normAutofit/>
          </a:bodyPr>
          <a:lstStyle/>
          <a:p>
            <a:r>
              <a:rPr lang="fi-FI" sz="3600"/>
              <a:t>Kaukolämpöyritysten lukumäärän jakautuma lämmön keskihinnan mukaan vuonna 2022 </a:t>
            </a:r>
            <a:r>
              <a:rPr lang="fi-FI" sz="2000"/>
              <a:t>(sis. alv)</a:t>
            </a:r>
            <a:endParaRPr lang="fi-FI" sz="360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6BD11DC7-42A9-4727-ADBC-6F8C986D2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3</a:t>
            </a:fld>
            <a:endParaRPr lang="en-US"/>
          </a:p>
        </p:txBody>
      </p:sp>
      <p:sp>
        <p:nvSpPr>
          <p:cNvPr id="8" name="Tekstiruutu 9">
            <a:extLst>
              <a:ext uri="{FF2B5EF4-FFF2-40B4-BE49-F238E27FC236}">
                <a16:creationId xmlns:a16="http://schemas.microsoft.com/office/drawing/2014/main" id="{2160C043-C7B8-47F9-94B0-63E325F64656}"/>
              </a:ext>
            </a:extLst>
          </p:cNvPr>
          <p:cNvSpPr txBox="1"/>
          <p:nvPr/>
        </p:nvSpPr>
        <p:spPr>
          <a:xfrm>
            <a:off x="7689165" y="2445494"/>
            <a:ext cx="4164205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Hinta sisältää kaikki verot, teho- ja energiamaksut ja mahdolliset muut vuotuiset kaukolämpömaksut. Ei sisällä liittymismaksuja.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Lämmön myynnillä painotettu keskihinta: 91,32 €/MWh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Aritmeettinen keskihinta: </a:t>
            </a:r>
            <a:b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88,22 €/MW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9C10A85C-961D-45CE-8FF5-7AD8162829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14081" y="1849275"/>
            <a:ext cx="6684198" cy="4362534"/>
          </a:xfrm>
          <a:prstGeom prst="rect">
            <a:avLst/>
          </a:prstGeom>
        </p:spPr>
      </p:pic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21B53ED7-A2FE-0282-7E30-472CC7663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130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B530289-AFB9-4089-B0D1-16383309E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10030245" cy="1099691"/>
          </a:xfrm>
        </p:spPr>
        <p:txBody>
          <a:bodyPr>
            <a:normAutofit/>
          </a:bodyPr>
          <a:lstStyle/>
          <a:p>
            <a:r>
              <a:rPr lang="fi-FI" sz="3600"/>
              <a:t>Kaukolämmön hinta uudisrakennuksissa (€/MWh)</a:t>
            </a:r>
            <a:br>
              <a:rPr lang="fi-FI" sz="3600"/>
            </a:br>
            <a:r>
              <a:rPr lang="fi-FI" sz="2000"/>
              <a:t>Teho- ja energiamaksu, sis. verot</a:t>
            </a:r>
            <a:endParaRPr lang="fi-FI" sz="3600"/>
          </a:p>
        </p:txBody>
      </p:sp>
      <p:sp>
        <p:nvSpPr>
          <p:cNvPr id="8" name="Tekstiruutu 8">
            <a:extLst>
              <a:ext uri="{FF2B5EF4-FFF2-40B4-BE49-F238E27FC236}">
                <a16:creationId xmlns:a16="http://schemas.microsoft.com/office/drawing/2014/main" id="{8D1FBC1A-9ABE-4286-BFC3-18618206BDB3}"/>
              </a:ext>
            </a:extLst>
          </p:cNvPr>
          <p:cNvSpPr txBox="1"/>
          <p:nvPr/>
        </p:nvSpPr>
        <p:spPr>
          <a:xfrm>
            <a:off x="8037926" y="2048586"/>
            <a:ext cx="37635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Hinta sisältää kaikki verot, teho- ja energiamaksut ja mahdolliset muut vuotuiset kaukolämpömaksut. Ei sisällä liittymismaksuja.</a:t>
            </a:r>
          </a:p>
        </p:txBody>
      </p:sp>
      <p:pic>
        <p:nvPicPr>
          <p:cNvPr id="7" name="Sisällön paikkamerkki 6">
            <a:extLst>
              <a:ext uri="{FF2B5EF4-FFF2-40B4-BE49-F238E27FC236}">
                <a16:creationId xmlns:a16="http://schemas.microsoft.com/office/drawing/2014/main" id="{E70D8E98-0F7C-40E9-B33F-3D02F033F91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16479" y="1584561"/>
            <a:ext cx="6697084" cy="4489443"/>
          </a:xfrm>
          <a:prstGeom prst="rect">
            <a:avLst/>
          </a:prstGeom>
        </p:spPr>
      </p:pic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2026038B-F7AF-4BA4-8EA6-93CE818D8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4</a:t>
            </a:fld>
            <a:endParaRPr lang="en-US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C73A045B-9272-CA85-B9C4-0ED0DBF4B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0676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979C1DB-285B-4688-BDB6-388653DE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9478683" cy="1086481"/>
          </a:xfrm>
        </p:spPr>
        <p:txBody>
          <a:bodyPr>
            <a:normAutofit/>
          </a:bodyPr>
          <a:lstStyle/>
          <a:p>
            <a:r>
              <a:rPr lang="fi-FI" sz="3600"/>
              <a:t>Kaukolämmön reaalihinnan kehitys</a:t>
            </a:r>
            <a:br>
              <a:rPr lang="fi-FI" sz="3600"/>
            </a:br>
            <a:r>
              <a:rPr lang="fi-FI" sz="2000"/>
              <a:t>Elinkustannusindeksillä korjattuna, verollinen ja veroton keskihinta</a:t>
            </a:r>
            <a:endParaRPr lang="fi-FI" sz="3600"/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B35E8D3A-0E60-454D-ACEE-0D80F84368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18271" y="1567724"/>
            <a:ext cx="7032820" cy="4486075"/>
          </a:xfrm>
          <a:prstGeom prst="rect">
            <a:avLst/>
          </a:prstGeom>
        </p:spPr>
      </p:pic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8A4EE0C7-9A9C-4EC9-AF25-D42CBD8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5</a:t>
            </a:fld>
            <a:endParaRPr lang="en-US"/>
          </a:p>
        </p:txBody>
      </p:sp>
      <p:sp>
        <p:nvSpPr>
          <p:cNvPr id="6" name="Text Box 1">
            <a:extLst>
              <a:ext uri="{FF2B5EF4-FFF2-40B4-BE49-F238E27FC236}">
                <a16:creationId xmlns:a16="http://schemas.microsoft.com/office/drawing/2014/main" id="{F4EA2CB7-B5E6-4307-BDEE-1D2554BD6A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4081" y="6058745"/>
            <a:ext cx="4832249" cy="297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xmlns:mc="http://schemas.openxmlformats.org/markup-compatibility/2006" val="FFFFFF" mc:Ignorable="a14" a14:legacySpreadsheetColorIndex="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xmlns:mc="http://schemas.openxmlformats.org/markup-compatibility/2006" val="000000" mc:Ignorable="a14" a14:legacySpreadsheetColorIndex="64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tIns="32004" rIns="0" bIns="0" anchor="t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 sz="1000"/>
            </a:pPr>
            <a:r>
              <a:rPr lang="fi-FI" sz="1200" i="0" u="none" strike="noStrike" baseline="0" dirty="0">
                <a:solidFill>
                  <a:schemeClr val="bg2">
                    <a:lumMod val="50000"/>
                  </a:schemeClr>
                </a:solidFill>
                <a:latin typeface="+mn-lt"/>
                <a:ea typeface="Verdana"/>
                <a:cs typeface="Verdana"/>
              </a:rPr>
              <a:t>Lähde: Energiateollisuus, Hintatilasto 07/2022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AA4A6069-F5A9-C17C-8DE3-DD95D480C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7862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B9B377E-20C3-4B40-ACF2-F37A7463B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600"/>
              <a:t>Kaukolämmön käytön jakaantuminen 2022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441F2E4A-D495-4307-A04B-EABFB49627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6</a:t>
            </a:fld>
            <a:endParaRPr lang="en-US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2D1EE700-B048-41EF-B966-22D14DA47D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-195837" y="1412877"/>
            <a:ext cx="7568602" cy="4939754"/>
          </a:xfrm>
          <a:prstGeom prst="rect">
            <a:avLst/>
          </a:prstGeom>
        </p:spPr>
      </p:pic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6AB460C1-6F10-31DB-6E99-D8ECB3AE8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0704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FDA9791-9338-4EB4-9865-FE9A48F66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600"/>
              <a:t>Asiakkaiden osuudet sopimusteholuokittain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EC79B3E-4D83-43FC-864D-9193C50A3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7</a:t>
            </a:fld>
            <a:endParaRPr lang="en-US"/>
          </a:p>
        </p:txBody>
      </p:sp>
      <p:sp>
        <p:nvSpPr>
          <p:cNvPr id="9" name="Tekstiruutu 6">
            <a:extLst>
              <a:ext uri="{FF2B5EF4-FFF2-40B4-BE49-F238E27FC236}">
                <a16:creationId xmlns:a16="http://schemas.microsoft.com/office/drawing/2014/main" id="{DC30C998-394A-4D9B-907F-CC890140D23E}"/>
              </a:ext>
            </a:extLst>
          </p:cNvPr>
          <p:cNvSpPr txBox="1"/>
          <p:nvPr/>
        </p:nvSpPr>
        <p:spPr>
          <a:xfrm>
            <a:off x="7786580" y="1841679"/>
            <a:ext cx="381299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000">
                <a:solidFill>
                  <a:schemeClr val="tx1">
                    <a:lumMod val="65000"/>
                    <a:lumOff val="35000"/>
                  </a:schemeClr>
                </a:solidFill>
              </a:rPr>
              <a:t>Kaukolämpöasiakkaita: 160 000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000">
                <a:solidFill>
                  <a:schemeClr val="tx1">
                    <a:lumMod val="65000"/>
                    <a:lumOff val="35000"/>
                  </a:schemeClr>
                </a:solidFill>
              </a:rPr>
              <a:t>Noin 120 000 asuintaloasiakasta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000">
                <a:solidFill>
                  <a:schemeClr val="tx1">
                    <a:lumMod val="65000"/>
                    <a:lumOff val="35000"/>
                  </a:schemeClr>
                </a:solidFill>
              </a:rPr>
              <a:t>2,9 miljoonaa asukasta</a:t>
            </a:r>
          </a:p>
          <a:p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FC9FBBF2-8C14-493F-9851-316060F54D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17569" y="1232266"/>
            <a:ext cx="7331734" cy="4819087"/>
          </a:xfrm>
          <a:prstGeom prst="rect">
            <a:avLst/>
          </a:prstGeom>
        </p:spPr>
      </p:pic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7B52CA29-18BE-1BFE-00DA-61FAAADF85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8464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979C1DB-285B-4688-BDB6-388653DE5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600"/>
              <a:t>Kaukolämmön tuotantokapasiteetti ja asiakkaiden sopimusteho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F607A9D9-E614-4E22-BDB9-7810E9C37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8</a:t>
            </a:fld>
            <a:endParaRPr lang="en-US"/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EA230D24-098B-41BC-A5F5-582A86D9D6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14081" y="1692992"/>
            <a:ext cx="7069069" cy="4613726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F0948EE-2517-874E-4316-857981C8E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3045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F7FCF6F-B60C-4497-BEF9-B352EED64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9702800" cy="1325563"/>
          </a:xfrm>
        </p:spPr>
        <p:txBody>
          <a:bodyPr>
            <a:noAutofit/>
          </a:bodyPr>
          <a:lstStyle/>
          <a:p>
            <a:r>
              <a:rPr lang="fi-FI" sz="2800">
                <a:cs typeface="Calibri"/>
              </a:rPr>
              <a:t>Kaukolämmön arvioitu kulutus kuukausittain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055390E1-2372-4720-86C9-28A4E71B35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889757D9-FB3A-47FB-98B9-4A03C23F9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9</a:t>
            </a:fld>
            <a:endParaRPr lang="en-US"/>
          </a:p>
        </p:txBody>
      </p:sp>
      <p:sp>
        <p:nvSpPr>
          <p:cNvPr id="8" name="Suorakulmio 7">
            <a:extLst>
              <a:ext uri="{FF2B5EF4-FFF2-40B4-BE49-F238E27FC236}">
                <a16:creationId xmlns:a16="http://schemas.microsoft.com/office/drawing/2014/main" id="{94B1B0BE-D93A-4D2D-84FB-259AAE7856A4}"/>
              </a:ext>
            </a:extLst>
          </p:cNvPr>
          <p:cNvSpPr/>
          <p:nvPr/>
        </p:nvSpPr>
        <p:spPr>
          <a:xfrm>
            <a:off x="8485975" y="2094512"/>
            <a:ext cx="3371484" cy="160556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Vuosi 2022 oli noin 0,4 astetta normaalivuotta lämpimämpi.</a:t>
            </a:r>
          </a:p>
          <a:p>
            <a:pPr marL="228600" indent="-228600">
              <a:spcBef>
                <a:spcPts val="1000"/>
              </a:spcBef>
              <a:buClr>
                <a:schemeClr val="accent3">
                  <a:lumMod val="75000"/>
                </a:schemeClr>
              </a:buClr>
              <a:buFont typeface="Arial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Lämmityskuukausista vain joulukuu oli normaalia kylmempi, 1,2 astetta.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4896C3D4-83E1-4860-BB2A-9A557F86E0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44676" y="1427940"/>
            <a:ext cx="7624661" cy="493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00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4EA7572-02CF-6A65-ECBE-524BDE0DE3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Poikkeuksellinen vuosi 2022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F2FCD2A-1822-4E3D-5FF3-13EDF399F7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sz="2400" dirty="0"/>
              <a:t>Vuosi 2022 oli poikkeuksellinen Suomen energiajärjestelmässä Ukrainan sodan ja Venäjän polttoaineiden tuonnin loppumisen vuoksi.</a:t>
            </a:r>
          </a:p>
          <a:p>
            <a:r>
              <a:rPr lang="fi-FI" sz="2400" dirty="0"/>
              <a:t>Aiemmin maakaasu tuotiin lähes täysin Venäjältä, mutta sen tuonti Venäjältä lopetettiin toukokuussa 2022.</a:t>
            </a:r>
          </a:p>
          <a:p>
            <a:pPr lvl="1"/>
            <a:r>
              <a:rPr lang="fi-FI" sz="2200" dirty="0"/>
              <a:t>Maakaasua käytettiin vuonna 2022 selvästi vähemmän kaukolämmöntuotannossa kuin aiempina vuosina. Maakaasua korvattiin erityisesti öljyllä ja kivihiilellä.</a:t>
            </a:r>
          </a:p>
          <a:p>
            <a:r>
              <a:rPr lang="fi-FI" sz="2400" dirty="0"/>
              <a:t>Myös sähkön sekä puun ja muiden energiantuotannon polttoaineiden tuonti Venäjältä lopetettiin vuoden 2022 aikana, mikä näkyi polttoaineiden ja kaukolämmön hinnassa. </a:t>
            </a:r>
          </a:p>
          <a:p>
            <a:r>
              <a:rPr lang="fi-FI" sz="2400" dirty="0"/>
              <a:t>Vuosi 2022 oli lämpimämpi kuin edellinen vuosi, mikä vähensi kaukolämmön tarvetta ja kulutusta.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E08B43B7-C0AF-E015-FF02-142789800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C3E9EADE-2A6F-758F-64D2-E07ADF265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6943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AAEC898-8B4B-4F87-9A78-ADE044BAB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2" y="255069"/>
            <a:ext cx="7329718" cy="1435619"/>
          </a:xfrm>
        </p:spPr>
        <p:txBody>
          <a:bodyPr>
            <a:normAutofit/>
          </a:bodyPr>
          <a:lstStyle/>
          <a:p>
            <a:r>
              <a:rPr lang="fi-FI" sz="3600"/>
              <a:t>Lämmityksen markkinaosuudet 2021 </a:t>
            </a:r>
            <a:r>
              <a:rPr lang="fi-FI" sz="2000"/>
              <a:t>Asuin- ja palvelurakennukset</a:t>
            </a:r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0A95179-17CB-48FB-A4FE-84B636EC4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4</a:t>
            </a:fld>
            <a:endParaRPr lang="en-US"/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256834F6-18E7-49D6-A1F4-4DE635DA4A60}"/>
              </a:ext>
            </a:extLst>
          </p:cNvPr>
          <p:cNvSpPr txBox="1"/>
          <p:nvPr/>
        </p:nvSpPr>
        <p:spPr>
          <a:xfrm>
            <a:off x="5489735" y="4356162"/>
            <a:ext cx="402173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400">
                <a:solidFill>
                  <a:schemeClr val="tx1">
                    <a:lumMod val="65000"/>
                    <a:lumOff val="35000"/>
                  </a:schemeClr>
                </a:solidFill>
              </a:rPr>
              <a:t>Lämpöpumppu: lämpöpumpuilla ympäristöstä (maasta, ilmasta tai vedestä) </a:t>
            </a:r>
            <a:r>
              <a:rPr lang="fi-FI" sz="1400" err="1">
                <a:solidFill>
                  <a:schemeClr val="tx1">
                    <a:lumMod val="65000"/>
                    <a:lumOff val="35000"/>
                  </a:schemeClr>
                </a:solidFill>
              </a:rPr>
              <a:t>talteenotettu</a:t>
            </a:r>
            <a:r>
              <a:rPr lang="fi-FI" sz="1400">
                <a:solidFill>
                  <a:schemeClr val="tx1">
                    <a:lumMod val="65000"/>
                    <a:lumOff val="35000"/>
                  </a:schemeClr>
                </a:solidFill>
              </a:rPr>
              <a:t> energia, jota käytetään rakennusten lämmitykseen. </a:t>
            </a:r>
          </a:p>
          <a:p>
            <a:r>
              <a:rPr lang="fi-FI" sz="1400">
                <a:solidFill>
                  <a:schemeClr val="tx1">
                    <a:lumMod val="65000"/>
                    <a:lumOff val="35000"/>
                  </a:schemeClr>
                </a:solidFill>
              </a:rPr>
              <a:t>Lämpöpumppujen sähkö: arvioitu lämpöpumppujen käyttämä sähkö.</a:t>
            </a:r>
          </a:p>
          <a:p>
            <a:r>
              <a:rPr lang="fi-FI" sz="1400">
                <a:solidFill>
                  <a:schemeClr val="tx1">
                    <a:lumMod val="65000"/>
                    <a:lumOff val="35000"/>
                  </a:schemeClr>
                </a:solidFill>
              </a:rPr>
              <a:t>Sähkö: sisältää myös lämmönjakolaitteiden käyttämän sähkön sekä kiukaiden sähkön. </a:t>
            </a:r>
          </a:p>
          <a:p>
            <a:r>
              <a:rPr lang="fi-FI" sz="1400">
                <a:solidFill>
                  <a:schemeClr val="tx1">
                    <a:lumMod val="65000"/>
                    <a:lumOff val="35000"/>
                  </a:schemeClr>
                </a:solidFill>
              </a:rPr>
              <a:t>Puu: sisältää myös kiukaiden käyttämän puun.</a:t>
            </a:r>
          </a:p>
        </p:txBody>
      </p:sp>
      <p:sp>
        <p:nvSpPr>
          <p:cNvPr id="9" name="Text Box 1">
            <a:extLst>
              <a:ext uri="{FF2B5EF4-FFF2-40B4-BE49-F238E27FC236}">
                <a16:creationId xmlns:a16="http://schemas.microsoft.com/office/drawing/2014/main" id="{B0DF8BF7-1039-4E82-8A6D-CBEC214497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486" y="6134613"/>
            <a:ext cx="4832249" cy="297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xmlns:mc="http://schemas.openxmlformats.org/markup-compatibility/2006" val="FFFFFF" mc:Ignorable="a14" a14:legacySpreadsheetColorIndex="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xmlns:mc="http://schemas.openxmlformats.org/markup-compatibility/2006" val="000000" mc:Ignorable="a14" a14:legacySpreadsheetColorIndex="64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tIns="32004" rIns="0" bIns="0" anchor="t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 sz="1000"/>
            </a:pPr>
            <a:r>
              <a:rPr lang="fi-FI" sz="1200">
                <a:solidFill>
                  <a:schemeClr val="tx1">
                    <a:lumMod val="65000"/>
                    <a:lumOff val="35000"/>
                  </a:schemeClr>
                </a:solidFill>
              </a:rPr>
              <a:t>Lähde: Tilastokeskus, Energia 2022 –taulukkopalvelu, Taulukko 7.2</a:t>
            </a:r>
            <a:endParaRPr lang="fi-FI" sz="1200" i="0" u="none" strike="noStrike" baseline="0">
              <a:solidFill>
                <a:srgbClr val="000000"/>
              </a:solidFill>
              <a:latin typeface="+mn-lt"/>
              <a:ea typeface="Verdana"/>
              <a:cs typeface="Verdana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0A242FA2-B9EE-4E1E-88E1-E531774696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528" y="1440869"/>
            <a:ext cx="6833158" cy="4459756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B87BD7E3-CDE2-79E8-CE0B-A6CBAEE01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5498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0EF11A0-872B-4CFB-8A0A-E3E5EB28A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600"/>
              <a:t>Kaukolämmön käyttö ja asiakkaiden sopimusteho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072D8E7-1C6E-4C8E-8720-B0FC26817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5</a:t>
            </a:fld>
            <a:endParaRPr lang="en-US"/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22496130-124D-4966-B300-8147EE8B66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14727" y="1670755"/>
            <a:ext cx="7175601" cy="4683255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4ED13F1-6967-8B05-44F5-362F852EED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0238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0EF11A0-872B-4CFB-8A0A-E3E5EB28A8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7904277" cy="1223043"/>
          </a:xfrm>
        </p:spPr>
        <p:txBody>
          <a:bodyPr>
            <a:normAutofit/>
          </a:bodyPr>
          <a:lstStyle/>
          <a:p>
            <a:r>
              <a:rPr lang="fi-FI" sz="3600"/>
              <a:t>Kaukolämmön mitattu ja lämpötilakorjattu käyttö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072D8E7-1C6E-4C8E-8720-B0FC26817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6</a:t>
            </a:fld>
            <a:endParaRPr lang="en-US"/>
          </a:p>
        </p:txBody>
      </p:sp>
      <p:sp>
        <p:nvSpPr>
          <p:cNvPr id="7" name="Tekstiruutu 6">
            <a:extLst>
              <a:ext uri="{FF2B5EF4-FFF2-40B4-BE49-F238E27FC236}">
                <a16:creationId xmlns:a16="http://schemas.microsoft.com/office/drawing/2014/main" id="{759AE806-088A-49C6-AEE7-E35F7D97FD99}"/>
              </a:ext>
            </a:extLst>
          </p:cNvPr>
          <p:cNvSpPr txBox="1"/>
          <p:nvPr/>
        </p:nvSpPr>
        <p:spPr>
          <a:xfrm>
            <a:off x="7969053" y="2024985"/>
            <a:ext cx="360886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Kaukolämmön käyttö 33,0 TWh (v. 2022)</a:t>
            </a:r>
          </a:p>
          <a:p>
            <a:pPr marL="541338" lvl="1" indent="-1873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lämpötilakorjattuna 33,9 TWh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Lämpötilakorjattu lämmön käyttö laski 0,6 % </a:t>
            </a:r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44CDA337-FACF-4209-8B3F-8E78609298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19688" y="1645403"/>
            <a:ext cx="7076291" cy="4653711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A85C727-226C-C7F3-B8ED-FCF551564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9067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B66A6D0-1D6C-4B38-92DA-92846BA71D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2" y="365125"/>
            <a:ext cx="7535308" cy="1025525"/>
          </a:xfrm>
        </p:spPr>
        <p:txBody>
          <a:bodyPr>
            <a:normAutofit/>
          </a:bodyPr>
          <a:lstStyle/>
          <a:p>
            <a:r>
              <a:rPr lang="fi-FI" sz="3600"/>
              <a:t>Kaukolämpöverkon johtopituus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3233F10E-85E8-461E-B926-F3B0E208D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7</a:t>
            </a:fld>
            <a:endParaRPr lang="en-US"/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680F408F-718E-427B-AADA-9F28E8D329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6985" y="1354126"/>
            <a:ext cx="7433174" cy="4851364"/>
          </a:xfrm>
          <a:prstGeom prst="rect">
            <a:avLst/>
          </a:prstGeom>
        </p:spPr>
      </p:pic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4DF9F5BA-EF7C-D734-C187-89F64B0AD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0867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B66A6D0-1D6C-4B38-92DA-92846BA71D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2" y="365125"/>
            <a:ext cx="7166340" cy="1325563"/>
          </a:xfrm>
        </p:spPr>
        <p:txBody>
          <a:bodyPr>
            <a:noAutofit/>
          </a:bodyPr>
          <a:lstStyle/>
          <a:p>
            <a:r>
              <a:rPr lang="fi-FI" sz="3600"/>
              <a:t>Lämpöindeksin kehitys kaukolämmitetyissä rakennuksissa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3233F10E-85E8-461E-B926-F3B0E208D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8</a:t>
            </a:fld>
            <a:endParaRPr lang="en-US"/>
          </a:p>
        </p:txBody>
      </p:sp>
      <p:sp>
        <p:nvSpPr>
          <p:cNvPr id="7" name="Tekstiruutu 6">
            <a:extLst>
              <a:ext uri="{FF2B5EF4-FFF2-40B4-BE49-F238E27FC236}">
                <a16:creationId xmlns:a16="http://schemas.microsoft.com/office/drawing/2014/main" id="{25C45941-A978-4290-8A56-21029AEF8E8C}"/>
              </a:ext>
            </a:extLst>
          </p:cNvPr>
          <p:cNvSpPr txBox="1"/>
          <p:nvPr/>
        </p:nvSpPr>
        <p:spPr>
          <a:xfrm>
            <a:off x="8282609" y="2337019"/>
            <a:ext cx="344266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Lämpöindeksi kertoo, kuinka paljon tilojen ja käyttöveden lämmittämiseen on käytetty energiaa rakennustilavuutta tai pinta-alaa koh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Lämpöindeksi on normeerattu vastaamaan vertailukautta 1991-2020</a:t>
            </a:r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8BC5BC85-97CD-42D4-9904-A0C6F54DF4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19815" y="1598542"/>
            <a:ext cx="6954872" cy="4546597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591B3EA-B5BC-B899-16BD-5B6B3B49F0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793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B66A6D0-1D6C-4B38-92DA-92846BA71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600"/>
              <a:t>Kaukolämmön hankinta 2022</a:t>
            </a:r>
            <a:br>
              <a:rPr lang="fi-FI"/>
            </a:br>
            <a:r>
              <a:rPr lang="fi-FI" sz="2000"/>
              <a:t>Yhteensä 33,0 TWh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3233F10E-85E8-461E-B926-F3B0E208D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9</a:t>
            </a:fld>
            <a:endParaRPr lang="en-US"/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16227BE1-D750-4222-BFD8-9FE596FE0B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362" y="1479618"/>
            <a:ext cx="8716920" cy="4994332"/>
          </a:xfrm>
          <a:prstGeom prst="rect">
            <a:avLst/>
          </a:prstGeom>
        </p:spPr>
      </p:pic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4A4F0786-14C1-F3C6-0045-6EC5E72E4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9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18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lFHfENGZZYNIkv3Grd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ergiateollisuus">
  <a:themeElements>
    <a:clrScheme name="Energiateollisuus">
      <a:dk1>
        <a:srgbClr val="000000"/>
      </a:dk1>
      <a:lt1>
        <a:srgbClr val="FFFFFF"/>
      </a:lt1>
      <a:dk2>
        <a:srgbClr val="DB5800"/>
      </a:dk2>
      <a:lt2>
        <a:srgbClr val="E7E6E6"/>
      </a:lt2>
      <a:accent1>
        <a:srgbClr val="460D56"/>
      </a:accent1>
      <a:accent2>
        <a:srgbClr val="9E78B2"/>
      </a:accent2>
      <a:accent3>
        <a:srgbClr val="B21C58"/>
      </a:accent3>
      <a:accent4>
        <a:srgbClr val="EA7911"/>
      </a:accent4>
      <a:accent5>
        <a:srgbClr val="4EADBB"/>
      </a:accent5>
      <a:accent6>
        <a:srgbClr val="14B063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nergiateollisuus" id="{55CFBF0B-11E4-2A4C-8D3A-81BA89ED3745}" vid="{DCA50BD7-A851-F742-8C56-D9351B008FF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3637f4e-3105-4f21-b1b4-ef4680048a14" xsi:nil="true"/>
    <lcf76f155ced4ddcb4097134ff3c332f xmlns="2c39e6aa-46e8-428a-81cc-27a4ca9f5229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023BE75E6072349999047A5FA9D42AC" ma:contentTypeVersion="18" ma:contentTypeDescription="Create a new document." ma:contentTypeScope="" ma:versionID="eea5ab055b7d9cdb6ef741d4641646d8">
  <xsd:schema xmlns:xsd="http://www.w3.org/2001/XMLSchema" xmlns:xs="http://www.w3.org/2001/XMLSchema" xmlns:p="http://schemas.microsoft.com/office/2006/metadata/properties" xmlns:ns2="2c39e6aa-46e8-428a-81cc-27a4ca9f5229" xmlns:ns3="f3637f4e-3105-4f21-b1b4-ef4680048a14" targetNamespace="http://schemas.microsoft.com/office/2006/metadata/properties" ma:root="true" ma:fieldsID="92342dbdaf3c709d3624a380d40ed819" ns2:_="" ns3:_="">
    <xsd:import namespace="2c39e6aa-46e8-428a-81cc-27a4ca9f5229"/>
    <xsd:import namespace="f3637f4e-3105-4f21-b1b4-ef4680048a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39e6aa-46e8-428a-81cc-27a4ca9f52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82b0897a-976a-40fc-9eb3-43b30155ff6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637f4e-3105-4f21-b1b4-ef4680048a1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3bdb7821-bbcb-453a-9820-f8d58f23fe74}" ma:internalName="TaxCatchAll" ma:showField="CatchAllData" ma:web="f3637f4e-3105-4f21-b1b4-ef4680048a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63DED46-6EAD-47D0-8BD8-2D3E2C4C6B4D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f3637f4e-3105-4f21-b1b4-ef4680048a14"/>
    <ds:schemaRef ds:uri="2c39e6aa-46e8-428a-81cc-27a4ca9f5229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C55B3C5-37EB-4692-8559-6856140D161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1D83DB3-FB7D-4868-8C3A-0D8405DAD17E}">
  <ds:schemaRefs>
    <ds:schemaRef ds:uri="2c39e6aa-46e8-428a-81cc-27a4ca9f5229"/>
    <ds:schemaRef ds:uri="f3637f4e-3105-4f21-b1b4-ef4680048a1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ergiateollisuus</Template>
  <TotalTime>21</TotalTime>
  <Words>1000</Words>
  <Application>Microsoft Office PowerPoint</Application>
  <PresentationFormat>Laajakuva</PresentationFormat>
  <Paragraphs>184</Paragraphs>
  <Slides>29</Slides>
  <Notes>2</Notes>
  <HiddenSlides>0</HiddenSlides>
  <MMClips>0</MMClips>
  <ScaleCrop>false</ScaleCrop>
  <HeadingPairs>
    <vt:vector size="8" baseType="variant">
      <vt:variant>
        <vt:lpstr>Käytetyt fontit</vt:lpstr>
      </vt:variant>
      <vt:variant>
        <vt:i4>5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29</vt:i4>
      </vt:variant>
    </vt:vector>
  </HeadingPairs>
  <TitlesOfParts>
    <vt:vector size="36" baseType="lpstr">
      <vt:lpstr>Arial</vt:lpstr>
      <vt:lpstr>Calibri</vt:lpstr>
      <vt:lpstr>Courier New</vt:lpstr>
      <vt:lpstr>Lucida Grande</vt:lpstr>
      <vt:lpstr>Verdana</vt:lpstr>
      <vt:lpstr>Energiateollisuus</vt:lpstr>
      <vt:lpstr>think-cell Slide</vt:lpstr>
      <vt:lpstr>Kaukolämpö 2022</vt:lpstr>
      <vt:lpstr>Tilastotietoja 2022</vt:lpstr>
      <vt:lpstr>Poikkeuksellinen vuosi 2022</vt:lpstr>
      <vt:lpstr>Lämmityksen markkinaosuudet 2021 Asuin- ja palvelurakennukset</vt:lpstr>
      <vt:lpstr>Kaukolämmön käyttö ja asiakkaiden sopimusteho</vt:lpstr>
      <vt:lpstr>Kaukolämmön mitattu ja lämpötilakorjattu käyttö</vt:lpstr>
      <vt:lpstr>Kaukolämpöverkon johtopituus</vt:lpstr>
      <vt:lpstr>Lämpöindeksin kehitys kaukolämmitetyissä rakennuksissa</vt:lpstr>
      <vt:lpstr>Kaukolämmön hankinta 2022 Yhteensä 33,0 TWh</vt:lpstr>
      <vt:lpstr>Kaukolämmön hankinta ja yhteistuotannon osuus</vt:lpstr>
      <vt:lpstr>Kaukolämmön hankinta sekä kaukolämmön ja siihen liittyvän sähkön tuotantoon käytetyt polttoaineet</vt:lpstr>
      <vt:lpstr>Kaukolämmön hankinnan energialähteet 2022 polttoaineluokittain</vt:lpstr>
      <vt:lpstr>Kaukolämmön hankinnan energialähteet 2022</vt:lpstr>
      <vt:lpstr>Kaukolämmön erillistuotannon energianlähteet 2022</vt:lpstr>
      <vt:lpstr>Kaukolämmön hankinnan energialähteet 2022 ja 2021</vt:lpstr>
      <vt:lpstr>Kaukolämmön hankinnan energialähteet</vt:lpstr>
      <vt:lpstr>Kaukolämmön ja siihen liittyvän yhteistuotantosähkön energialähteet 2022 alueittain</vt:lpstr>
      <vt:lpstr>Kaukolämmön ja siihen liittyvän yhteistuotantosähkön tuotannon energialähteet vuosina 2005 ja 2022</vt:lpstr>
      <vt:lpstr>Uusiutuvien polttoaineiden käyttö kaukolämmön ja siihen liittyvän sähkön tuotantoon</vt:lpstr>
      <vt:lpstr>Hukka- ja ympäristölämpöjen hyödyntäminen</vt:lpstr>
      <vt:lpstr>Kaukolämmön hankinnan hiilidioksidipäästöt</vt:lpstr>
      <vt:lpstr>Kaukolämmön keskihinta sekä minimi- ja maksimiarvot (sis. alv)</vt:lpstr>
      <vt:lpstr>Kaukolämpöyritysten lukumäärän jakautuma lämmön keskihinnan mukaan vuonna 2022 (sis. alv)</vt:lpstr>
      <vt:lpstr>Kaukolämmön hinta uudisrakennuksissa (€/MWh) Teho- ja energiamaksu, sis. verot</vt:lpstr>
      <vt:lpstr>Kaukolämmön reaalihinnan kehitys Elinkustannusindeksillä korjattuna, verollinen ja veroton keskihinta</vt:lpstr>
      <vt:lpstr>Kaukolämmön käytön jakaantuminen 2022</vt:lpstr>
      <vt:lpstr>Asiakkaiden osuudet sopimusteholuokittain</vt:lpstr>
      <vt:lpstr>Kaukolämmön tuotantokapasiteetti ja asiakkaiden sopimusteho</vt:lpstr>
      <vt:lpstr>Kaukolämmön arvioitu kulutus kuukausittai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aukojäähdytysenergian myynti ja asiakasmäärä</dc:title>
  <dc:creator>Tiitinen Mirja</dc:creator>
  <cp:lastModifiedBy>Huttunen Neea</cp:lastModifiedBy>
  <cp:revision>4</cp:revision>
  <dcterms:created xsi:type="dcterms:W3CDTF">2017-12-28T08:25:13Z</dcterms:created>
  <dcterms:modified xsi:type="dcterms:W3CDTF">2023-11-09T12:4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023BE75E6072349999047A5FA9D42AC</vt:lpwstr>
  </property>
  <property fmtid="{D5CDD505-2E9C-101B-9397-08002B2CF9AE}" pid="3" name="MediaServiceImageTags">
    <vt:lpwstr/>
  </property>
</Properties>
</file>